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10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2.xml" ContentType="application/vnd.openxmlformats-officedocument.drawingml.chart+xml"/>
  <Override PartName="/ppt/drawings/drawing1.xml" ContentType="application/vnd.openxmlformats-officedocument.drawingml.chartshape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3.xml" ContentType="application/vnd.openxmlformats-officedocument.drawingml.chart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3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notesSlides/notesSlide17.xml" ContentType="application/vnd.openxmlformats-officedocument.presentationml.notesSlid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notesSlides/notesSlide18.xml" ContentType="application/vnd.openxmlformats-officedocument.presentationml.notesSlide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3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6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7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charts/chart38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9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charts/chart40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1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charts/chart42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3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792" r:id="rId5"/>
    <p:sldMasterId id="2147483809" r:id="rId6"/>
    <p:sldMasterId id="2147483815" r:id="rId7"/>
    <p:sldMasterId id="2147483864" r:id="rId8"/>
    <p:sldMasterId id="2147483875" r:id="rId9"/>
  </p:sldMasterIdLst>
  <p:notesMasterIdLst>
    <p:notesMasterId r:id="rId67"/>
  </p:notesMasterIdLst>
  <p:sldIdLst>
    <p:sldId id="1751" r:id="rId10"/>
    <p:sldId id="1801" r:id="rId11"/>
    <p:sldId id="1403" r:id="rId12"/>
    <p:sldId id="1768" r:id="rId13"/>
    <p:sldId id="2193" r:id="rId14"/>
    <p:sldId id="2223" r:id="rId15"/>
    <p:sldId id="2224" r:id="rId16"/>
    <p:sldId id="2225" r:id="rId17"/>
    <p:sldId id="2226" r:id="rId18"/>
    <p:sldId id="2227" r:id="rId19"/>
    <p:sldId id="1820" r:id="rId20"/>
    <p:sldId id="1882" r:id="rId21"/>
    <p:sldId id="2216" r:id="rId22"/>
    <p:sldId id="2217" r:id="rId23"/>
    <p:sldId id="1822" r:id="rId24"/>
    <p:sldId id="2201" r:id="rId25"/>
    <p:sldId id="2202" r:id="rId26"/>
    <p:sldId id="2121" r:id="rId27"/>
    <p:sldId id="2215" r:id="rId28"/>
    <p:sldId id="2123" r:id="rId29"/>
    <p:sldId id="2124" r:id="rId30"/>
    <p:sldId id="2141" r:id="rId31"/>
    <p:sldId id="2125" r:id="rId32"/>
    <p:sldId id="2180" r:id="rId33"/>
    <p:sldId id="2203" r:id="rId34"/>
    <p:sldId id="2204" r:id="rId35"/>
    <p:sldId id="2205" r:id="rId36"/>
    <p:sldId id="2218" r:id="rId37"/>
    <p:sldId id="2206" r:id="rId38"/>
    <p:sldId id="2207" r:id="rId39"/>
    <p:sldId id="2208" r:id="rId40"/>
    <p:sldId id="1727" r:id="rId41"/>
    <p:sldId id="2176" r:id="rId42"/>
    <p:sldId id="2177" r:id="rId43"/>
    <p:sldId id="2178" r:id="rId44"/>
    <p:sldId id="1406" r:id="rId45"/>
    <p:sldId id="1407" r:id="rId46"/>
    <p:sldId id="2219" r:id="rId47"/>
    <p:sldId id="2220" r:id="rId48"/>
    <p:sldId id="2221" r:id="rId49"/>
    <p:sldId id="1835" r:id="rId50"/>
    <p:sldId id="2165" r:id="rId51"/>
    <p:sldId id="2214" r:id="rId52"/>
    <p:sldId id="2222" r:id="rId53"/>
    <p:sldId id="1410" r:id="rId54"/>
    <p:sldId id="1411" r:id="rId55"/>
    <p:sldId id="1894" r:id="rId56"/>
    <p:sldId id="2209" r:id="rId57"/>
    <p:sldId id="2114" r:id="rId58"/>
    <p:sldId id="2210" r:id="rId59"/>
    <p:sldId id="2211" r:id="rId60"/>
    <p:sldId id="1989" r:id="rId61"/>
    <p:sldId id="2076" r:id="rId62"/>
    <p:sldId id="1842" r:id="rId63"/>
    <p:sldId id="2102" r:id="rId64"/>
    <p:sldId id="2103" r:id="rId65"/>
    <p:sldId id="2104" r:id="rId66"/>
  </p:sldIdLst>
  <p:sldSz cx="12192000" cy="6858000"/>
  <p:notesSz cx="6858000" cy="9144000"/>
  <p:embeddedFontLst>
    <p:embeddedFont>
      <p:font typeface="Calibri Light" panose="020F0302020204030204" pitchFamily="34" charset="0"/>
      <p:regular r:id="rId68"/>
      <p:italic r:id="rId69"/>
    </p:embeddedFont>
    <p:embeddedFont>
      <p:font typeface="Calibri" panose="020F0502020204030204" pitchFamily="34" charset="0"/>
      <p:regular r:id="rId70"/>
      <p:bold r:id="rId71"/>
      <p:italic r:id="rId72"/>
      <p:boldItalic r:id="rId73"/>
    </p:embeddedFont>
  </p:embeddedFontLst>
  <p:custDataLst>
    <p:tags r:id="rId7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3399"/>
    <a:srgbClr val="00FF00"/>
    <a:srgbClr val="A19FA0"/>
    <a:srgbClr val="706F6F"/>
    <a:srgbClr val="FF0000"/>
    <a:srgbClr val="CFDEED"/>
    <a:srgbClr val="6D6B6B"/>
    <a:srgbClr val="666363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60" autoAdjust="0"/>
    <p:restoredTop sz="95770" autoAdjust="0"/>
  </p:normalViewPr>
  <p:slideViewPr>
    <p:cSldViewPr snapToGrid="0">
      <p:cViewPr>
        <p:scale>
          <a:sx n="66" d="100"/>
          <a:sy n="66" d="100"/>
        </p:scale>
        <p:origin x="1050" y="5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63" Type="http://schemas.openxmlformats.org/officeDocument/2006/relationships/slide" Target="slides/slide54.xml"/><Relationship Id="rId68" Type="http://schemas.openxmlformats.org/officeDocument/2006/relationships/font" Target="fonts/font1.fntdata"/><Relationship Id="rId76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71" Type="http://schemas.openxmlformats.org/officeDocument/2006/relationships/font" Target="fonts/font4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66" Type="http://schemas.openxmlformats.org/officeDocument/2006/relationships/slide" Target="slides/slide57.xml"/><Relationship Id="rId7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61" Type="http://schemas.openxmlformats.org/officeDocument/2006/relationships/slide" Target="slides/slide52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73" Type="http://schemas.openxmlformats.org/officeDocument/2006/relationships/font" Target="fonts/font6.fntdata"/><Relationship Id="rId78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slide" Target="slides/slide55.xml"/><Relationship Id="rId69" Type="http://schemas.openxmlformats.org/officeDocument/2006/relationships/font" Target="fonts/font2.fntdata"/><Relationship Id="rId77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72" Type="http://schemas.openxmlformats.org/officeDocument/2006/relationships/font" Target="fonts/font5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font" Target="fonts/font3.fntdata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List_aplikace_Microsoft_Excel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2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8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9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0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1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2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3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4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5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6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7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8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9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0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1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2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List_aplikace_Microsoft_Excel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0939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45</c:v>
                </c:pt>
                <c:pt idx="1">
                  <c:v>44246</c:v>
                </c:pt>
                <c:pt idx="2">
                  <c:v>44247</c:v>
                </c:pt>
                <c:pt idx="3">
                  <c:v>44248</c:v>
                </c:pt>
                <c:pt idx="4">
                  <c:v>44249</c:v>
                </c:pt>
                <c:pt idx="5">
                  <c:v>44250</c:v>
                </c:pt>
                <c:pt idx="6">
                  <c:v>44251</c:v>
                </c:pt>
                <c:pt idx="7">
                  <c:v>44252</c:v>
                </c:pt>
                <c:pt idx="8">
                  <c:v>44253</c:v>
                </c:pt>
                <c:pt idx="9">
                  <c:v>44254</c:v>
                </c:pt>
                <c:pt idx="10">
                  <c:v>44255</c:v>
                </c:pt>
                <c:pt idx="11">
                  <c:v>44256</c:v>
                </c:pt>
                <c:pt idx="12">
                  <c:v>44257</c:v>
                </c:pt>
                <c:pt idx="13">
                  <c:v>44258</c:v>
                </c:pt>
                <c:pt idx="14">
                  <c:v>44259</c:v>
                </c:pt>
                <c:pt idx="15">
                  <c:v>44260</c:v>
                </c:pt>
                <c:pt idx="16">
                  <c:v>44261</c:v>
                </c:pt>
                <c:pt idx="17">
                  <c:v>44262</c:v>
                </c:pt>
                <c:pt idx="18">
                  <c:v>44263</c:v>
                </c:pt>
                <c:pt idx="19">
                  <c:v>44264</c:v>
                </c:pt>
                <c:pt idx="20">
                  <c:v>44265</c:v>
                </c:pt>
                <c:pt idx="21">
                  <c:v>44266</c:v>
                </c:pt>
                <c:pt idx="22">
                  <c:v>44267</c:v>
                </c:pt>
                <c:pt idx="23">
                  <c:v>44268</c:v>
                </c:pt>
                <c:pt idx="24">
                  <c:v>44269</c:v>
                </c:pt>
                <c:pt idx="25">
                  <c:v>44270</c:v>
                </c:pt>
                <c:pt idx="26">
                  <c:v>44271</c:v>
                </c:pt>
                <c:pt idx="27">
                  <c:v>44272</c:v>
                </c:pt>
                <c:pt idx="28">
                  <c:v>44273</c:v>
                </c:pt>
                <c:pt idx="29">
                  <c:v>44274</c:v>
                </c:pt>
                <c:pt idx="30">
                  <c:v>44275</c:v>
                </c:pt>
                <c:pt idx="31">
                  <c:v>44276</c:v>
                </c:pt>
                <c:pt idx="32">
                  <c:v>44277</c:v>
                </c:pt>
                <c:pt idx="33">
                  <c:v>44278</c:v>
                </c:pt>
                <c:pt idx="34">
                  <c:v>44279</c:v>
                </c:pt>
                <c:pt idx="35">
                  <c:v>44280</c:v>
                </c:pt>
                <c:pt idx="36">
                  <c:v>44281</c:v>
                </c:pt>
                <c:pt idx="37">
                  <c:v>44282</c:v>
                </c:pt>
                <c:pt idx="38">
                  <c:v>44283</c:v>
                </c:pt>
                <c:pt idx="39">
                  <c:v>44284</c:v>
                </c:pt>
                <c:pt idx="40">
                  <c:v>44285</c:v>
                </c:pt>
                <c:pt idx="41">
                  <c:v>44286</c:v>
                </c:pt>
                <c:pt idx="42">
                  <c:v>44287</c:v>
                </c:pt>
                <c:pt idx="43">
                  <c:v>44288</c:v>
                </c:pt>
                <c:pt idx="44">
                  <c:v>44289</c:v>
                </c:pt>
                <c:pt idx="45">
                  <c:v>44290</c:v>
                </c:pt>
                <c:pt idx="46">
                  <c:v>44291</c:v>
                </c:pt>
                <c:pt idx="47">
                  <c:v>44292</c:v>
                </c:pt>
                <c:pt idx="48">
                  <c:v>44293</c:v>
                </c:pt>
                <c:pt idx="49">
                  <c:v>44294</c:v>
                </c:pt>
                <c:pt idx="50">
                  <c:v>44295</c:v>
                </c:pt>
                <c:pt idx="51">
                  <c:v>44296</c:v>
                </c:pt>
                <c:pt idx="52">
                  <c:v>44297</c:v>
                </c:pt>
                <c:pt idx="53">
                  <c:v>44298</c:v>
                </c:pt>
                <c:pt idx="54">
                  <c:v>44299</c:v>
                </c:pt>
                <c:pt idx="55">
                  <c:v>44300</c:v>
                </c:pt>
                <c:pt idx="56">
                  <c:v>44301</c:v>
                </c:pt>
                <c:pt idx="57">
                  <c:v>44302</c:v>
                </c:pt>
                <c:pt idx="58">
                  <c:v>44303</c:v>
                </c:pt>
                <c:pt idx="59">
                  <c:v>44304</c:v>
                </c:pt>
                <c:pt idx="60">
                  <c:v>44305</c:v>
                </c:pt>
                <c:pt idx="61">
                  <c:v>44306</c:v>
                </c:pt>
                <c:pt idx="62">
                  <c:v>44307</c:v>
                </c:pt>
                <c:pt idx="63">
                  <c:v>44308</c:v>
                </c:pt>
                <c:pt idx="64">
                  <c:v>44309</c:v>
                </c:pt>
                <c:pt idx="65">
                  <c:v>44310</c:v>
                </c:pt>
                <c:pt idx="66">
                  <c:v>44311</c:v>
                </c:pt>
                <c:pt idx="67">
                  <c:v>44312</c:v>
                </c:pt>
                <c:pt idx="68">
                  <c:v>44313</c:v>
                </c:pt>
                <c:pt idx="69">
                  <c:v>44314</c:v>
                </c:pt>
                <c:pt idx="70">
                  <c:v>44315</c:v>
                </c:pt>
                <c:pt idx="71">
                  <c:v>44316</c:v>
                </c:pt>
                <c:pt idx="72">
                  <c:v>44317</c:v>
                </c:pt>
                <c:pt idx="73">
                  <c:v>44318</c:v>
                </c:pt>
                <c:pt idx="74">
                  <c:v>44319</c:v>
                </c:pt>
                <c:pt idx="75">
                  <c:v>44320</c:v>
                </c:pt>
                <c:pt idx="76">
                  <c:v>44321</c:v>
                </c:pt>
                <c:pt idx="77">
                  <c:v>44322</c:v>
                </c:pt>
                <c:pt idx="78">
                  <c:v>44323</c:v>
                </c:pt>
                <c:pt idx="79">
                  <c:v>44324</c:v>
                </c:pt>
                <c:pt idx="80">
                  <c:v>44325</c:v>
                </c:pt>
                <c:pt idx="81">
                  <c:v>44326</c:v>
                </c:pt>
                <c:pt idx="82">
                  <c:v>44327</c:v>
                </c:pt>
                <c:pt idx="83">
                  <c:v>44328</c:v>
                </c:pt>
                <c:pt idx="84">
                  <c:v>44329</c:v>
                </c:pt>
                <c:pt idx="85">
                  <c:v>44330</c:v>
                </c:pt>
                <c:pt idx="86">
                  <c:v>44331</c:v>
                </c:pt>
                <c:pt idx="87">
                  <c:v>44332</c:v>
                </c:pt>
                <c:pt idx="88">
                  <c:v>44333</c:v>
                </c:pt>
                <c:pt idx="89">
                  <c:v>44334</c:v>
                </c:pt>
                <c:pt idx="90">
                  <c:v>44335</c:v>
                </c:pt>
                <c:pt idx="91">
                  <c:v>44336</c:v>
                </c:pt>
                <c:pt idx="92">
                  <c:v>44337</c:v>
                </c:pt>
                <c:pt idx="93">
                  <c:v>44338</c:v>
                </c:pt>
                <c:pt idx="94">
                  <c:v>44339</c:v>
                </c:pt>
                <c:pt idx="95">
                  <c:v>44340</c:v>
                </c:pt>
                <c:pt idx="96">
                  <c:v>44341</c:v>
                </c:pt>
                <c:pt idx="97">
                  <c:v>44342</c:v>
                </c:pt>
                <c:pt idx="98">
                  <c:v>44343</c:v>
                </c:pt>
                <c:pt idx="99">
                  <c:v>44344</c:v>
                </c:pt>
                <c:pt idx="100">
                  <c:v>44345</c:v>
                </c:pt>
                <c:pt idx="101">
                  <c:v>44346</c:v>
                </c:pt>
                <c:pt idx="102">
                  <c:v>44347</c:v>
                </c:pt>
                <c:pt idx="103">
                  <c:v>44348</c:v>
                </c:pt>
                <c:pt idx="104">
                  <c:v>44349</c:v>
                </c:pt>
                <c:pt idx="105">
                  <c:v>44350</c:v>
                </c:pt>
                <c:pt idx="106">
                  <c:v>44351</c:v>
                </c:pt>
                <c:pt idx="107">
                  <c:v>44352</c:v>
                </c:pt>
                <c:pt idx="108">
                  <c:v>44353</c:v>
                </c:pt>
                <c:pt idx="109">
                  <c:v>44354</c:v>
                </c:pt>
                <c:pt idx="110">
                  <c:v>44355</c:v>
                </c:pt>
                <c:pt idx="111">
                  <c:v>44356</c:v>
                </c:pt>
                <c:pt idx="112">
                  <c:v>44357</c:v>
                </c:pt>
                <c:pt idx="113">
                  <c:v>44358</c:v>
                </c:pt>
                <c:pt idx="114">
                  <c:v>44359</c:v>
                </c:pt>
                <c:pt idx="115">
                  <c:v>44360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1704</c:v>
                </c:pt>
                <c:pt idx="1">
                  <c:v>11287</c:v>
                </c:pt>
                <c:pt idx="2">
                  <c:v>6774</c:v>
                </c:pt>
                <c:pt idx="3">
                  <c:v>4068</c:v>
                </c:pt>
                <c:pt idx="4">
                  <c:v>11410</c:v>
                </c:pt>
                <c:pt idx="5">
                  <c:v>15840</c:v>
                </c:pt>
                <c:pt idx="6">
                  <c:v>13795</c:v>
                </c:pt>
                <c:pt idx="7">
                  <c:v>14588</c:v>
                </c:pt>
                <c:pt idx="8">
                  <c:v>14776</c:v>
                </c:pt>
                <c:pt idx="9">
                  <c:v>7824</c:v>
                </c:pt>
                <c:pt idx="10">
                  <c:v>4588</c:v>
                </c:pt>
                <c:pt idx="11">
                  <c:v>12325</c:v>
                </c:pt>
                <c:pt idx="12">
                  <c:v>16781</c:v>
                </c:pt>
                <c:pt idx="13">
                  <c:v>15240</c:v>
                </c:pt>
                <c:pt idx="14">
                  <c:v>14649</c:v>
                </c:pt>
                <c:pt idx="15">
                  <c:v>13170</c:v>
                </c:pt>
                <c:pt idx="16">
                  <c:v>9131</c:v>
                </c:pt>
                <c:pt idx="17">
                  <c:v>3983</c:v>
                </c:pt>
                <c:pt idx="18">
                  <c:v>10654</c:v>
                </c:pt>
                <c:pt idx="19">
                  <c:v>15361</c:v>
                </c:pt>
                <c:pt idx="20">
                  <c:v>14538</c:v>
                </c:pt>
                <c:pt idx="21">
                  <c:v>11246</c:v>
                </c:pt>
                <c:pt idx="22">
                  <c:v>14977</c:v>
                </c:pt>
                <c:pt idx="23">
                  <c:v>7027</c:v>
                </c:pt>
                <c:pt idx="24">
                  <c:v>3334</c:v>
                </c:pt>
                <c:pt idx="25">
                  <c:v>10630</c:v>
                </c:pt>
                <c:pt idx="26">
                  <c:v>14027</c:v>
                </c:pt>
                <c:pt idx="27">
                  <c:v>12029</c:v>
                </c:pt>
                <c:pt idx="28">
                  <c:v>10661</c:v>
                </c:pt>
                <c:pt idx="29">
                  <c:v>9709</c:v>
                </c:pt>
                <c:pt idx="30">
                  <c:v>5466</c:v>
                </c:pt>
                <c:pt idx="31">
                  <c:v>2391</c:v>
                </c:pt>
                <c:pt idx="32">
                  <c:v>8239</c:v>
                </c:pt>
                <c:pt idx="33">
                  <c:v>10968</c:v>
                </c:pt>
                <c:pt idx="34">
                  <c:v>8851</c:v>
                </c:pt>
                <c:pt idx="35">
                  <c:v>7926</c:v>
                </c:pt>
                <c:pt idx="36">
                  <c:v>7712</c:v>
                </c:pt>
                <c:pt idx="37">
                  <c:v>3970</c:v>
                </c:pt>
                <c:pt idx="38">
                  <c:v>1744</c:v>
                </c:pt>
                <c:pt idx="39">
                  <c:v>6936</c:v>
                </c:pt>
                <c:pt idx="40">
                  <c:v>8630</c:v>
                </c:pt>
                <c:pt idx="41">
                  <c:v>7266</c:v>
                </c:pt>
                <c:pt idx="42">
                  <c:v>6245</c:v>
                </c:pt>
                <c:pt idx="43">
                  <c:v>3837</c:v>
                </c:pt>
                <c:pt idx="44">
                  <c:v>2160</c:v>
                </c:pt>
                <c:pt idx="45">
                  <c:v>1925</c:v>
                </c:pt>
                <c:pt idx="46">
                  <c:v>1419</c:v>
                </c:pt>
                <c:pt idx="47">
                  <c:v>5584</c:v>
                </c:pt>
                <c:pt idx="48">
                  <c:v>7052</c:v>
                </c:pt>
                <c:pt idx="49">
                  <c:v>5283</c:v>
                </c:pt>
                <c:pt idx="50">
                  <c:v>4819</c:v>
                </c:pt>
                <c:pt idx="51">
                  <c:v>2204</c:v>
                </c:pt>
                <c:pt idx="52">
                  <c:v>985</c:v>
                </c:pt>
                <c:pt idx="53">
                  <c:v>3868</c:v>
                </c:pt>
                <c:pt idx="54">
                  <c:v>5055</c:v>
                </c:pt>
                <c:pt idx="55">
                  <c:v>3716</c:v>
                </c:pt>
                <c:pt idx="56">
                  <c:v>3263</c:v>
                </c:pt>
                <c:pt idx="57">
                  <c:v>3217</c:v>
                </c:pt>
                <c:pt idx="58">
                  <c:v>1541</c:v>
                </c:pt>
                <c:pt idx="59">
                  <c:v>833</c:v>
                </c:pt>
                <c:pt idx="60">
                  <c:v>3341</c:v>
                </c:pt>
                <c:pt idx="61">
                  <c:v>3816</c:v>
                </c:pt>
                <c:pt idx="62">
                  <c:v>2951</c:v>
                </c:pt>
                <c:pt idx="63">
                  <c:v>2628</c:v>
                </c:pt>
                <c:pt idx="64">
                  <c:v>2601</c:v>
                </c:pt>
                <c:pt idx="65">
                  <c:v>1308</c:v>
                </c:pt>
                <c:pt idx="66">
                  <c:v>825</c:v>
                </c:pt>
                <c:pt idx="67">
                  <c:v>2579</c:v>
                </c:pt>
                <c:pt idx="68">
                  <c:v>3239</c:v>
                </c:pt>
                <c:pt idx="69">
                  <c:v>2488</c:v>
                </c:pt>
                <c:pt idx="70">
                  <c:v>2229</c:v>
                </c:pt>
                <c:pt idx="71">
                  <c:v>2167</c:v>
                </c:pt>
                <c:pt idx="72">
                  <c:v>1171</c:v>
                </c:pt>
                <c:pt idx="73">
                  <c:v>508</c:v>
                </c:pt>
                <c:pt idx="74">
                  <c:v>2219</c:v>
                </c:pt>
                <c:pt idx="75">
                  <c:v>2415</c:v>
                </c:pt>
                <c:pt idx="76">
                  <c:v>1873</c:v>
                </c:pt>
                <c:pt idx="77">
                  <c:v>1572</c:v>
                </c:pt>
                <c:pt idx="78">
                  <c:v>1638</c:v>
                </c:pt>
                <c:pt idx="79">
                  <c:v>725</c:v>
                </c:pt>
                <c:pt idx="80">
                  <c:v>383</c:v>
                </c:pt>
                <c:pt idx="81">
                  <c:v>1544</c:v>
                </c:pt>
                <c:pt idx="82">
                  <c:v>1690</c:v>
                </c:pt>
                <c:pt idx="83">
                  <c:v>1264</c:v>
                </c:pt>
                <c:pt idx="84">
                  <c:v>1223</c:v>
                </c:pt>
                <c:pt idx="85">
                  <c:v>1051</c:v>
                </c:pt>
                <c:pt idx="86">
                  <c:v>597</c:v>
                </c:pt>
                <c:pt idx="87">
                  <c:v>257</c:v>
                </c:pt>
                <c:pt idx="88">
                  <c:v>1128</c:v>
                </c:pt>
                <c:pt idx="89">
                  <c:v>1199</c:v>
                </c:pt>
                <c:pt idx="90">
                  <c:v>778</c:v>
                </c:pt>
                <c:pt idx="91">
                  <c:v>678</c:v>
                </c:pt>
                <c:pt idx="92">
                  <c:v>671</c:v>
                </c:pt>
                <c:pt idx="93">
                  <c:v>333</c:v>
                </c:pt>
                <c:pt idx="94">
                  <c:v>196</c:v>
                </c:pt>
                <c:pt idx="95">
                  <c:v>696</c:v>
                </c:pt>
                <c:pt idx="96">
                  <c:v>660</c:v>
                </c:pt>
                <c:pt idx="97">
                  <c:v>538</c:v>
                </c:pt>
                <c:pt idx="98">
                  <c:v>505</c:v>
                </c:pt>
                <c:pt idx="99">
                  <c:v>452</c:v>
                </c:pt>
                <c:pt idx="100">
                  <c:v>222</c:v>
                </c:pt>
                <c:pt idx="101">
                  <c:v>112</c:v>
                </c:pt>
                <c:pt idx="102">
                  <c:v>512</c:v>
                </c:pt>
                <c:pt idx="103">
                  <c:v>477</c:v>
                </c:pt>
                <c:pt idx="104">
                  <c:v>350</c:v>
                </c:pt>
                <c:pt idx="105">
                  <c:v>424</c:v>
                </c:pt>
                <c:pt idx="106">
                  <c:v>319</c:v>
                </c:pt>
                <c:pt idx="107">
                  <c:v>152</c:v>
                </c:pt>
                <c:pt idx="108">
                  <c:v>96</c:v>
                </c:pt>
                <c:pt idx="109">
                  <c:v>296</c:v>
                </c:pt>
                <c:pt idx="110">
                  <c:v>384</c:v>
                </c:pt>
                <c:pt idx="111">
                  <c:v>250</c:v>
                </c:pt>
                <c:pt idx="112">
                  <c:v>190</c:v>
                </c:pt>
                <c:pt idx="113">
                  <c:v>180</c:v>
                </c:pt>
                <c:pt idx="114">
                  <c:v>74</c:v>
                </c:pt>
                <c:pt idx="115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8E-4319-A6B1-3BB003D0597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Zlínský kraj</c:v>
                </c:pt>
                <c:pt idx="4">
                  <c:v>Hlavní město Praha</c:v>
                </c:pt>
                <c:pt idx="5">
                  <c:v>Moravskoslezský kraj</c:v>
                </c:pt>
                <c:pt idx="6">
                  <c:v>ČR</c:v>
                </c:pt>
                <c:pt idx="7">
                  <c:v>Kraj Vysočina</c:v>
                </c:pt>
                <c:pt idx="8">
                  <c:v>Středočeský kraj</c:v>
                </c:pt>
                <c:pt idx="9">
                  <c:v>Jihomoravský kraj</c:v>
                </c:pt>
                <c:pt idx="10">
                  <c:v>Olomoucký kraj</c:v>
                </c:pt>
                <c:pt idx="11">
                  <c:v>Úst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2.897190743235001</c:v>
                </c:pt>
                <c:pt idx="1">
                  <c:v>8.5880364132740006</c:v>
                </c:pt>
                <c:pt idx="2">
                  <c:v>7.9520710069179996</c:v>
                </c:pt>
                <c:pt idx="3">
                  <c:v>7.757029161258</c:v>
                </c:pt>
                <c:pt idx="4">
                  <c:v>6.8909521797869999</c:v>
                </c:pt>
                <c:pt idx="5">
                  <c:v>6.0360452502189998</c:v>
                </c:pt>
                <c:pt idx="6">
                  <c:v>5.9896594743089997</c:v>
                </c:pt>
                <c:pt idx="7">
                  <c:v>5.6991030790870001</c:v>
                </c:pt>
                <c:pt idx="8">
                  <c:v>5.2217565559860004</c:v>
                </c:pt>
                <c:pt idx="9">
                  <c:v>5.1032060682970002</c:v>
                </c:pt>
                <c:pt idx="10">
                  <c:v>4.75796245016</c:v>
                </c:pt>
                <c:pt idx="11">
                  <c:v>4.5287415973479996</c:v>
                </c:pt>
                <c:pt idx="12">
                  <c:v>3.8251449729939999</c:v>
                </c:pt>
                <c:pt idx="13">
                  <c:v>1.7046752423189999</c:v>
                </c:pt>
                <c:pt idx="14">
                  <c:v>1.633978028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E-4319-A6B1-3BB003D05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8B0-4D33-B12C-8C4CD8438033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České Budějovice</c:v>
                </c:pt>
                <c:pt idx="2">
                  <c:v>Klatovy</c:v>
                </c:pt>
                <c:pt idx="3">
                  <c:v>Prachatice</c:v>
                </c:pt>
                <c:pt idx="4">
                  <c:v>Šumperk</c:v>
                </c:pt>
                <c:pt idx="5">
                  <c:v>Domažlice</c:v>
                </c:pt>
                <c:pt idx="6">
                  <c:v>Liberec</c:v>
                </c:pt>
                <c:pt idx="7">
                  <c:v>Jablonec nad Nisou</c:v>
                </c:pt>
                <c:pt idx="8">
                  <c:v>Vsetín</c:v>
                </c:pt>
                <c:pt idx="9">
                  <c:v>Děčín</c:v>
                </c:pt>
                <c:pt idx="10">
                  <c:v>Karviná</c:v>
                </c:pt>
                <c:pt idx="11">
                  <c:v>Jihlava</c:v>
                </c:pt>
                <c:pt idx="12">
                  <c:v>Praha-západ</c:v>
                </c:pt>
                <c:pt idx="13">
                  <c:v>Havlíčkův Brod</c:v>
                </c:pt>
                <c:pt idx="14">
                  <c:v>Ostrava-město</c:v>
                </c:pt>
                <c:pt idx="15">
                  <c:v>Semily</c:v>
                </c:pt>
                <c:pt idx="16">
                  <c:v>Zlín</c:v>
                </c:pt>
                <c:pt idx="17">
                  <c:v>Nymburk</c:v>
                </c:pt>
                <c:pt idx="18">
                  <c:v>Příbram</c:v>
                </c:pt>
                <c:pt idx="19">
                  <c:v>Praha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58.708414872798002</c:v>
                </c:pt>
                <c:pt idx="1">
                  <c:v>47.303689687795</c:v>
                </c:pt>
                <c:pt idx="2">
                  <c:v>38.259538798649999</c:v>
                </c:pt>
                <c:pt idx="3">
                  <c:v>33.478406427853997</c:v>
                </c:pt>
                <c:pt idx="4">
                  <c:v>30.841814832411998</c:v>
                </c:pt>
                <c:pt idx="5">
                  <c:v>30.759209669248001</c:v>
                </c:pt>
                <c:pt idx="6">
                  <c:v>29.635539851251998</c:v>
                </c:pt>
                <c:pt idx="7">
                  <c:v>22.942545311526001</c:v>
                </c:pt>
                <c:pt idx="8">
                  <c:v>21.846986525342</c:v>
                </c:pt>
                <c:pt idx="9">
                  <c:v>21.798534827051</c:v>
                </c:pt>
                <c:pt idx="10">
                  <c:v>21.418656473582001</c:v>
                </c:pt>
                <c:pt idx="11">
                  <c:v>20.235078828828001</c:v>
                </c:pt>
                <c:pt idx="12">
                  <c:v>19.699904783792999</c:v>
                </c:pt>
                <c:pt idx="13">
                  <c:v>19.025070815541</c:v>
                </c:pt>
                <c:pt idx="14">
                  <c:v>18.277963708786999</c:v>
                </c:pt>
                <c:pt idx="15">
                  <c:v>17.935982339955</c:v>
                </c:pt>
                <c:pt idx="16">
                  <c:v>17.729849244134002</c:v>
                </c:pt>
                <c:pt idx="17">
                  <c:v>17.727178719506</c:v>
                </c:pt>
                <c:pt idx="18">
                  <c:v>17.35568745878</c:v>
                </c:pt>
                <c:pt idx="19">
                  <c:v>15.95405232929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České Budějovice</c:v>
                </c:pt>
                <c:pt idx="2">
                  <c:v>Klatovy</c:v>
                </c:pt>
                <c:pt idx="3">
                  <c:v>Prachatice</c:v>
                </c:pt>
                <c:pt idx="4">
                  <c:v>Šumperk</c:v>
                </c:pt>
                <c:pt idx="5">
                  <c:v>Domažlice</c:v>
                </c:pt>
                <c:pt idx="6">
                  <c:v>Liberec</c:v>
                </c:pt>
                <c:pt idx="7">
                  <c:v>Jablonec nad Nisou</c:v>
                </c:pt>
                <c:pt idx="8">
                  <c:v>Vsetín</c:v>
                </c:pt>
                <c:pt idx="9">
                  <c:v>Děčín</c:v>
                </c:pt>
                <c:pt idx="10">
                  <c:v>Karviná</c:v>
                </c:pt>
                <c:pt idx="11">
                  <c:v>Jihlava</c:v>
                </c:pt>
                <c:pt idx="12">
                  <c:v>Praha-západ</c:v>
                </c:pt>
                <c:pt idx="13">
                  <c:v>Havlíčkův Brod</c:v>
                </c:pt>
                <c:pt idx="14">
                  <c:v>Ostrava-město</c:v>
                </c:pt>
                <c:pt idx="15">
                  <c:v>Semily</c:v>
                </c:pt>
                <c:pt idx="16">
                  <c:v>Zlín</c:v>
                </c:pt>
                <c:pt idx="17">
                  <c:v>Nymburk</c:v>
                </c:pt>
                <c:pt idx="18">
                  <c:v>Příbram</c:v>
                </c:pt>
                <c:pt idx="19">
                  <c:v>Praha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97.847358121330004</c:v>
                </c:pt>
                <c:pt idx="1">
                  <c:v>81.382691935992</c:v>
                </c:pt>
                <c:pt idx="2">
                  <c:v>42.897058653031998</c:v>
                </c:pt>
                <c:pt idx="3">
                  <c:v>59.079540755036</c:v>
                </c:pt>
                <c:pt idx="4">
                  <c:v>110.86382088407601</c:v>
                </c:pt>
                <c:pt idx="5">
                  <c:v>10.856191647969</c:v>
                </c:pt>
                <c:pt idx="6">
                  <c:v>45.023224004786996</c:v>
                </c:pt>
                <c:pt idx="7">
                  <c:v>33.867566888444003</c:v>
                </c:pt>
                <c:pt idx="8">
                  <c:v>77.521565089925005</c:v>
                </c:pt>
                <c:pt idx="9">
                  <c:v>71.623757288885002</c:v>
                </c:pt>
                <c:pt idx="10">
                  <c:v>60.960791501735997</c:v>
                </c:pt>
                <c:pt idx="11">
                  <c:v>56.306306306305999</c:v>
                </c:pt>
                <c:pt idx="12">
                  <c:v>42.026463538759003</c:v>
                </c:pt>
                <c:pt idx="13">
                  <c:v>46.505728660212</c:v>
                </c:pt>
                <c:pt idx="14">
                  <c:v>72.166442919179005</c:v>
                </c:pt>
                <c:pt idx="15">
                  <c:v>5.518763796909</c:v>
                </c:pt>
                <c:pt idx="16">
                  <c:v>71.440863130777998</c:v>
                </c:pt>
                <c:pt idx="17">
                  <c:v>38.408887225598001</c:v>
                </c:pt>
                <c:pt idx="18">
                  <c:v>24.297962442292</c:v>
                </c:pt>
                <c:pt idx="19">
                  <c:v>44.04217262734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2-401F-B1E0-512B723D069B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České Budějovice</c:v>
                </c:pt>
                <c:pt idx="2">
                  <c:v>Klatovy</c:v>
                </c:pt>
                <c:pt idx="3">
                  <c:v>Prachatice</c:v>
                </c:pt>
                <c:pt idx="4">
                  <c:v>Šumperk</c:v>
                </c:pt>
                <c:pt idx="5">
                  <c:v>Domažlice</c:v>
                </c:pt>
                <c:pt idx="6">
                  <c:v>Liberec</c:v>
                </c:pt>
                <c:pt idx="7">
                  <c:v>Jablonec nad Nisou</c:v>
                </c:pt>
                <c:pt idx="8">
                  <c:v>Vsetín</c:v>
                </c:pt>
                <c:pt idx="9">
                  <c:v>Děčín</c:v>
                </c:pt>
                <c:pt idx="10">
                  <c:v>Karviná</c:v>
                </c:pt>
                <c:pt idx="11">
                  <c:v>Jihlava</c:v>
                </c:pt>
                <c:pt idx="12">
                  <c:v>Praha-západ</c:v>
                </c:pt>
                <c:pt idx="13">
                  <c:v>Havlíčkův Brod</c:v>
                </c:pt>
                <c:pt idx="14">
                  <c:v>Ostrava-město</c:v>
                </c:pt>
                <c:pt idx="15">
                  <c:v>Semily</c:v>
                </c:pt>
                <c:pt idx="16">
                  <c:v>Zlín</c:v>
                </c:pt>
                <c:pt idx="17">
                  <c:v>Nymburk</c:v>
                </c:pt>
                <c:pt idx="18">
                  <c:v>Příbram</c:v>
                </c:pt>
                <c:pt idx="19">
                  <c:v>Praha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86.431833007175001</c:v>
                </c:pt>
                <c:pt idx="1">
                  <c:v>69.683929970193006</c:v>
                </c:pt>
                <c:pt idx="2">
                  <c:v>30.143879053481999</c:v>
                </c:pt>
                <c:pt idx="3">
                  <c:v>23.631816302013998</c:v>
                </c:pt>
                <c:pt idx="4">
                  <c:v>90.024756808122007</c:v>
                </c:pt>
                <c:pt idx="5">
                  <c:v>16.284287471953999</c:v>
                </c:pt>
                <c:pt idx="6">
                  <c:v>39.893995953607998</c:v>
                </c:pt>
                <c:pt idx="7">
                  <c:v>33.867566888444003</c:v>
                </c:pt>
                <c:pt idx="8">
                  <c:v>38.056041044144997</c:v>
                </c:pt>
                <c:pt idx="9">
                  <c:v>49.825222461833</c:v>
                </c:pt>
                <c:pt idx="10">
                  <c:v>37.070751588893003</c:v>
                </c:pt>
                <c:pt idx="11">
                  <c:v>37.830799549548999</c:v>
                </c:pt>
                <c:pt idx="12">
                  <c:v>40.05647306038</c:v>
                </c:pt>
                <c:pt idx="13">
                  <c:v>44.391831902928999</c:v>
                </c:pt>
                <c:pt idx="14">
                  <c:v>46.640321187940998</c:v>
                </c:pt>
                <c:pt idx="15">
                  <c:v>9.6578366445910007</c:v>
                </c:pt>
                <c:pt idx="16">
                  <c:v>52.146615423924999</c:v>
                </c:pt>
                <c:pt idx="17">
                  <c:v>25.605924817064999</c:v>
                </c:pt>
                <c:pt idx="18">
                  <c:v>14.752334339962999</c:v>
                </c:pt>
                <c:pt idx="19">
                  <c:v>27.039497140253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52-401F-B1E0-512B723D069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29.5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České Budějovice</c:v>
                </c:pt>
                <c:pt idx="2">
                  <c:v>Klatovy</c:v>
                </c:pt>
                <c:pt idx="3">
                  <c:v>Prachatice</c:v>
                </c:pt>
                <c:pt idx="4">
                  <c:v>Šumperk</c:v>
                </c:pt>
                <c:pt idx="5">
                  <c:v>Domažlice</c:v>
                </c:pt>
                <c:pt idx="6">
                  <c:v>Liberec</c:v>
                </c:pt>
                <c:pt idx="7">
                  <c:v>Jablonec nad Nisou</c:v>
                </c:pt>
                <c:pt idx="8">
                  <c:v>Vsetín</c:v>
                </c:pt>
                <c:pt idx="9">
                  <c:v>Děčín</c:v>
                </c:pt>
                <c:pt idx="10">
                  <c:v>Karviná</c:v>
                </c:pt>
                <c:pt idx="11">
                  <c:v>Jihlava</c:v>
                </c:pt>
                <c:pt idx="12">
                  <c:v>Praha-západ</c:v>
                </c:pt>
                <c:pt idx="13">
                  <c:v>Havlíčkův Brod</c:v>
                </c:pt>
                <c:pt idx="14">
                  <c:v>Ostrava-město</c:v>
                </c:pt>
                <c:pt idx="15">
                  <c:v>Semily</c:v>
                </c:pt>
                <c:pt idx="16">
                  <c:v>Zlín</c:v>
                </c:pt>
                <c:pt idx="17">
                  <c:v>Nymburk</c:v>
                </c:pt>
                <c:pt idx="18">
                  <c:v>Příbram</c:v>
                </c:pt>
                <c:pt idx="19">
                  <c:v>Praha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86.431833007175001</c:v>
                </c:pt>
                <c:pt idx="1">
                  <c:v>59.002451653594001</c:v>
                </c:pt>
                <c:pt idx="2">
                  <c:v>66.084657924940998</c:v>
                </c:pt>
                <c:pt idx="3">
                  <c:v>45.294314578860998</c:v>
                </c:pt>
                <c:pt idx="4">
                  <c:v>55.015129160519002</c:v>
                </c:pt>
                <c:pt idx="5">
                  <c:v>18.093652746616002</c:v>
                </c:pt>
                <c:pt idx="6">
                  <c:v>37.044424814065003</c:v>
                </c:pt>
                <c:pt idx="7">
                  <c:v>41.515081992285999</c:v>
                </c:pt>
                <c:pt idx="8">
                  <c:v>47.922422055589998</c:v>
                </c:pt>
                <c:pt idx="9">
                  <c:v>21.020015726084999</c:v>
                </c:pt>
                <c:pt idx="10">
                  <c:v>25.949526112225001</c:v>
                </c:pt>
                <c:pt idx="11">
                  <c:v>23.754222972971998</c:v>
                </c:pt>
                <c:pt idx="12">
                  <c:v>34.803165118034997</c:v>
                </c:pt>
                <c:pt idx="13">
                  <c:v>16.911174058257998</c:v>
                </c:pt>
                <c:pt idx="14">
                  <c:v>28.677494784476998</c:v>
                </c:pt>
                <c:pt idx="15">
                  <c:v>22.075055187636998</c:v>
                </c:pt>
                <c:pt idx="16">
                  <c:v>27.116240020441001</c:v>
                </c:pt>
                <c:pt idx="17">
                  <c:v>11.818119146337001</c:v>
                </c:pt>
                <c:pt idx="18">
                  <c:v>12.148981221146</c:v>
                </c:pt>
                <c:pt idx="19">
                  <c:v>22.919906163206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52-401F-B1E0-512B723D069B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České Budějovice</c:v>
                </c:pt>
                <c:pt idx="2">
                  <c:v>Klatovy</c:v>
                </c:pt>
                <c:pt idx="3">
                  <c:v>Prachatice</c:v>
                </c:pt>
                <c:pt idx="4">
                  <c:v>Šumperk</c:v>
                </c:pt>
                <c:pt idx="5">
                  <c:v>Domažlice</c:v>
                </c:pt>
                <c:pt idx="6">
                  <c:v>Liberec</c:v>
                </c:pt>
                <c:pt idx="7">
                  <c:v>Jablonec nad Nisou</c:v>
                </c:pt>
                <c:pt idx="8">
                  <c:v>Vsetín</c:v>
                </c:pt>
                <c:pt idx="9">
                  <c:v>Děčín</c:v>
                </c:pt>
                <c:pt idx="10">
                  <c:v>Karviná</c:v>
                </c:pt>
                <c:pt idx="11">
                  <c:v>Jihlava</c:v>
                </c:pt>
                <c:pt idx="12">
                  <c:v>Praha-západ</c:v>
                </c:pt>
                <c:pt idx="13">
                  <c:v>Havlíčkův Brod</c:v>
                </c:pt>
                <c:pt idx="14">
                  <c:v>Ostrava-město</c:v>
                </c:pt>
                <c:pt idx="15">
                  <c:v>Semily</c:v>
                </c:pt>
                <c:pt idx="16">
                  <c:v>Zlín</c:v>
                </c:pt>
                <c:pt idx="17">
                  <c:v>Nymburk</c:v>
                </c:pt>
                <c:pt idx="18">
                  <c:v>Příbram</c:v>
                </c:pt>
                <c:pt idx="19">
                  <c:v>Praha</c:v>
                </c:pt>
              </c:strCache>
            </c:strRef>
          </c:cat>
          <c:val>
            <c:numRef>
              <c:f>Sheet1!$E$2:$E$21</c:f>
              <c:numCache>
                <c:formatCode>General</c:formatCode>
                <c:ptCount val="20"/>
                <c:pt idx="0">
                  <c:v>58.708414872798002</c:v>
                </c:pt>
                <c:pt idx="1">
                  <c:v>47.303689687795</c:v>
                </c:pt>
                <c:pt idx="2">
                  <c:v>38.259538798649999</c:v>
                </c:pt>
                <c:pt idx="3">
                  <c:v>33.478406427853997</c:v>
                </c:pt>
                <c:pt idx="4">
                  <c:v>30.841814832411998</c:v>
                </c:pt>
                <c:pt idx="5">
                  <c:v>30.759209669248001</c:v>
                </c:pt>
                <c:pt idx="6">
                  <c:v>29.635539851251998</c:v>
                </c:pt>
                <c:pt idx="7">
                  <c:v>22.942545311526001</c:v>
                </c:pt>
                <c:pt idx="8">
                  <c:v>21.846986525342</c:v>
                </c:pt>
                <c:pt idx="9">
                  <c:v>21.798534827051</c:v>
                </c:pt>
                <c:pt idx="10">
                  <c:v>21.418656473582001</c:v>
                </c:pt>
                <c:pt idx="11">
                  <c:v>20.235078828828001</c:v>
                </c:pt>
                <c:pt idx="12">
                  <c:v>19.699904783792999</c:v>
                </c:pt>
                <c:pt idx="13">
                  <c:v>19.025070815541</c:v>
                </c:pt>
                <c:pt idx="14">
                  <c:v>18.277963708786999</c:v>
                </c:pt>
                <c:pt idx="15">
                  <c:v>17.935982339955</c:v>
                </c:pt>
                <c:pt idx="16">
                  <c:v>17.729849244134002</c:v>
                </c:pt>
                <c:pt idx="17">
                  <c:v>17.727178719506</c:v>
                </c:pt>
                <c:pt idx="18">
                  <c:v>17.35568745878</c:v>
                </c:pt>
                <c:pt idx="19">
                  <c:v>15.95405232929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1-4125-A549-285CF38DF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935-4A4A-9BB8-7E2A9E5151F3}"/>
              </c:ext>
            </c:extLst>
          </c:dPt>
          <c:dPt>
            <c:idx val="4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935-4A4A-9BB8-7E2A9E5151F3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935-4A4A-9BB8-7E2A9E5151F3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0B3-4B87-942D-9FDA71F63FF9}"/>
              </c:ext>
            </c:extLst>
          </c:dPt>
          <c:dPt>
            <c:idx val="7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935-4A4A-9BB8-7E2A9E5151F3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935-4A4A-9BB8-7E2A9E5151F3}"/>
              </c:ext>
            </c:extLst>
          </c:dPt>
          <c:dPt>
            <c:idx val="1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935-4A4A-9BB8-7E2A9E5151F3}"/>
              </c:ext>
            </c:extLst>
          </c:dPt>
          <c:dPt>
            <c:idx val="1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C0B3-4B87-942D-9FDA71F63FF9}"/>
              </c:ext>
            </c:extLst>
          </c:dPt>
          <c:dPt>
            <c:idx val="1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B4E5-4676-B84B-9F746B76A0FC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České Budějovice</c:v>
                </c:pt>
                <c:pt idx="2">
                  <c:v>Klatovy</c:v>
                </c:pt>
                <c:pt idx="3">
                  <c:v>Prachatice</c:v>
                </c:pt>
                <c:pt idx="4">
                  <c:v>Šumperk</c:v>
                </c:pt>
                <c:pt idx="5">
                  <c:v>Domažlice</c:v>
                </c:pt>
                <c:pt idx="6">
                  <c:v>Liberec</c:v>
                </c:pt>
                <c:pt idx="7">
                  <c:v>Jablonec nad Nisou</c:v>
                </c:pt>
                <c:pt idx="8">
                  <c:v>Vsetín</c:v>
                </c:pt>
                <c:pt idx="9">
                  <c:v>Děčín</c:v>
                </c:pt>
                <c:pt idx="10">
                  <c:v>Karviná</c:v>
                </c:pt>
                <c:pt idx="11">
                  <c:v>Jihlava</c:v>
                </c:pt>
                <c:pt idx="12">
                  <c:v>Praha-západ</c:v>
                </c:pt>
                <c:pt idx="13">
                  <c:v>Havlíčkův Brod</c:v>
                </c:pt>
                <c:pt idx="14">
                  <c:v>Ostrava-město</c:v>
                </c:pt>
                <c:pt idx="15">
                  <c:v>Semily</c:v>
                </c:pt>
                <c:pt idx="16">
                  <c:v>Zlín</c:v>
                </c:pt>
                <c:pt idx="17">
                  <c:v>Nymburk</c:v>
                </c:pt>
                <c:pt idx="18">
                  <c:v>Příbram</c:v>
                </c:pt>
                <c:pt idx="19">
                  <c:v>Praha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58.708414872798002</c:v>
                </c:pt>
                <c:pt idx="1">
                  <c:v>47.303689687795</c:v>
                </c:pt>
                <c:pt idx="2">
                  <c:v>38.259538798649999</c:v>
                </c:pt>
                <c:pt idx="3">
                  <c:v>33.478406427853997</c:v>
                </c:pt>
                <c:pt idx="4">
                  <c:v>30.841814832411998</c:v>
                </c:pt>
                <c:pt idx="5">
                  <c:v>30.759209669248001</c:v>
                </c:pt>
                <c:pt idx="6">
                  <c:v>29.635539851251998</c:v>
                </c:pt>
                <c:pt idx="7">
                  <c:v>22.942545311526001</c:v>
                </c:pt>
                <c:pt idx="8">
                  <c:v>21.846986525342</c:v>
                </c:pt>
                <c:pt idx="9">
                  <c:v>21.798534827051</c:v>
                </c:pt>
                <c:pt idx="10">
                  <c:v>21.418656473582001</c:v>
                </c:pt>
                <c:pt idx="11">
                  <c:v>20.235078828828001</c:v>
                </c:pt>
                <c:pt idx="12">
                  <c:v>19.699904783792999</c:v>
                </c:pt>
                <c:pt idx="13">
                  <c:v>19.025070815541</c:v>
                </c:pt>
                <c:pt idx="14">
                  <c:v>18.277963708786999</c:v>
                </c:pt>
                <c:pt idx="15">
                  <c:v>17.935982339955</c:v>
                </c:pt>
                <c:pt idx="16">
                  <c:v>17.729849244134002</c:v>
                </c:pt>
                <c:pt idx="17">
                  <c:v>17.727178719506</c:v>
                </c:pt>
                <c:pt idx="18">
                  <c:v>17.35568745878</c:v>
                </c:pt>
                <c:pt idx="19">
                  <c:v>15.95405232929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5E-4BE4-A359-8EBC5A58012C}"/>
              </c:ext>
            </c:extLst>
          </c:dPt>
          <c:dPt>
            <c:idx val="1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5E-4BE4-A359-8EBC5A58012C}"/>
              </c:ext>
            </c:extLst>
          </c:dPt>
          <c:dPt>
            <c:idx val="2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5E-4BE4-A359-8EBC5A58012C}"/>
              </c:ext>
            </c:extLst>
          </c:dPt>
          <c:dPt>
            <c:idx val="3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5E-4BE4-A359-8EBC5A58012C}"/>
              </c:ext>
            </c:extLst>
          </c:dPt>
          <c:dPt>
            <c:idx val="4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05E-4BE4-A359-8EBC5A58012C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09C0-46FD-933E-FB36B350A472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44A-4869-9DBA-297DCE47C6DF}"/>
              </c:ext>
            </c:extLst>
          </c:dPt>
          <c:dPt>
            <c:idx val="7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05E-4BE4-A359-8EBC5A58012C}"/>
              </c:ext>
            </c:extLst>
          </c:dPt>
          <c:dPt>
            <c:idx val="8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05E-4BE4-A359-8EBC5A58012C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09C0-46FD-933E-FB36B350A472}"/>
              </c:ext>
            </c:extLst>
          </c:dPt>
          <c:dPt>
            <c:idx val="10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05E-4BE4-A359-8EBC5A58012C}"/>
              </c:ext>
            </c:extLst>
          </c:dPt>
          <c:dPt>
            <c:idx val="1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09C0-46FD-933E-FB36B350A472}"/>
              </c:ext>
            </c:extLst>
          </c:dPt>
          <c:dPt>
            <c:idx val="1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344A-4869-9DBA-297DCE47C6DF}"/>
              </c:ext>
            </c:extLst>
          </c:dPt>
          <c:dPt>
            <c:idx val="1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EBF4-45FC-9D6C-BD5C7D208870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České Budějovice</c:v>
                </c:pt>
                <c:pt idx="2">
                  <c:v>Klatovy</c:v>
                </c:pt>
                <c:pt idx="3">
                  <c:v>Prachatice</c:v>
                </c:pt>
                <c:pt idx="4">
                  <c:v>Šumperk</c:v>
                </c:pt>
                <c:pt idx="5">
                  <c:v>Domažlice</c:v>
                </c:pt>
                <c:pt idx="6">
                  <c:v>Liberec</c:v>
                </c:pt>
                <c:pt idx="7">
                  <c:v>Jablonec nad Nisou</c:v>
                </c:pt>
                <c:pt idx="8">
                  <c:v>Vsetín</c:v>
                </c:pt>
                <c:pt idx="9">
                  <c:v>Děčín</c:v>
                </c:pt>
                <c:pt idx="10">
                  <c:v>Karviná</c:v>
                </c:pt>
                <c:pt idx="11">
                  <c:v>Jihlava</c:v>
                </c:pt>
                <c:pt idx="12">
                  <c:v>Praha-západ</c:v>
                </c:pt>
                <c:pt idx="13">
                  <c:v>Havlíčkův Brod</c:v>
                </c:pt>
                <c:pt idx="14">
                  <c:v>Ostrava-město</c:v>
                </c:pt>
                <c:pt idx="15">
                  <c:v>Semily</c:v>
                </c:pt>
                <c:pt idx="16">
                  <c:v>Zlín</c:v>
                </c:pt>
                <c:pt idx="17">
                  <c:v>Nymburk</c:v>
                </c:pt>
                <c:pt idx="18">
                  <c:v>Příbram</c:v>
                </c:pt>
                <c:pt idx="19">
                  <c:v>Praha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0.72</c:v>
                </c:pt>
                <c:pt idx="1">
                  <c:v>0.84545454545400001</c:v>
                </c:pt>
                <c:pt idx="2">
                  <c:v>0.55932203389799995</c:v>
                </c:pt>
                <c:pt idx="3">
                  <c:v>0.70833333333299997</c:v>
                </c:pt>
                <c:pt idx="4">
                  <c:v>0.71153846153800004</c:v>
                </c:pt>
                <c:pt idx="5">
                  <c:v>1.0625</c:v>
                </c:pt>
                <c:pt idx="6">
                  <c:v>0.96296296296200001</c:v>
                </c:pt>
                <c:pt idx="7">
                  <c:v>0.61764705882299997</c:v>
                </c:pt>
                <c:pt idx="8">
                  <c:v>0.5</c:v>
                </c:pt>
                <c:pt idx="9">
                  <c:v>1.0370370370369999</c:v>
                </c:pt>
                <c:pt idx="10">
                  <c:v>0.88135593220300001</c:v>
                </c:pt>
                <c:pt idx="11">
                  <c:v>0.82142857142799997</c:v>
                </c:pt>
                <c:pt idx="12">
                  <c:v>0.65217391304299999</c:v>
                </c:pt>
                <c:pt idx="13">
                  <c:v>1.384615384615</c:v>
                </c:pt>
                <c:pt idx="14">
                  <c:v>0.66666666666600005</c:v>
                </c:pt>
                <c:pt idx="15">
                  <c:v>0.8125</c:v>
                </c:pt>
                <c:pt idx="16">
                  <c:v>0.66666666666600005</c:v>
                </c:pt>
                <c:pt idx="17">
                  <c:v>2.25</c:v>
                </c:pt>
                <c:pt idx="18">
                  <c:v>1.052631578947</c:v>
                </c:pt>
                <c:pt idx="19">
                  <c:v>0.702970297029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05E-4BE4-A359-8EBC5A580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9D0-47C0-898E-BF6258A712B5}"/>
              </c:ext>
            </c:extLst>
          </c:dPt>
          <c:dPt>
            <c:idx val="1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D0-47C0-898E-BF6258A712B5}"/>
              </c:ext>
            </c:extLst>
          </c:dPt>
          <c:dPt>
            <c:idx val="2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9D0-47C0-898E-BF6258A712B5}"/>
              </c:ext>
            </c:extLst>
          </c:dPt>
          <c:dPt>
            <c:idx val="3"/>
            <c:invertIfNegative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817-4605-BE04-B5F94FABE89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Český Krumlov</c:v>
                </c:pt>
                <c:pt idx="1">
                  <c:v>České Budějovice</c:v>
                </c:pt>
                <c:pt idx="2">
                  <c:v>Klatovy</c:v>
                </c:pt>
                <c:pt idx="3">
                  <c:v>Prachatice</c:v>
                </c:pt>
                <c:pt idx="4">
                  <c:v>Šumperk</c:v>
                </c:pt>
                <c:pt idx="5">
                  <c:v>Domažlice</c:v>
                </c:pt>
                <c:pt idx="6">
                  <c:v>Liberec</c:v>
                </c:pt>
                <c:pt idx="7">
                  <c:v>Jablonec nad Nisou</c:v>
                </c:pt>
                <c:pt idx="8">
                  <c:v>Vsetín</c:v>
                </c:pt>
                <c:pt idx="9">
                  <c:v>Děčín</c:v>
                </c:pt>
                <c:pt idx="10">
                  <c:v>Karviná</c:v>
                </c:pt>
                <c:pt idx="11">
                  <c:v>Jihlava</c:v>
                </c:pt>
                <c:pt idx="12">
                  <c:v>Praha-západ</c:v>
                </c:pt>
                <c:pt idx="13">
                  <c:v>Havlíčkův Brod</c:v>
                </c:pt>
                <c:pt idx="14">
                  <c:v>Ostrava-město</c:v>
                </c:pt>
                <c:pt idx="15">
                  <c:v>Semily</c:v>
                </c:pt>
                <c:pt idx="16">
                  <c:v>Zlín</c:v>
                </c:pt>
                <c:pt idx="17">
                  <c:v>Nymburk</c:v>
                </c:pt>
                <c:pt idx="18">
                  <c:v>Příbram</c:v>
                </c:pt>
                <c:pt idx="19">
                  <c:v>Praha</c:v>
                </c:pt>
              </c:strCache>
            </c:strRef>
          </c:cat>
          <c:val>
            <c:numRef>
              <c:f>Sheet1!$B$2:$B$21</c:f>
              <c:numCache>
                <c:formatCode>_(* #,##0.00_);_(* \(#,##0.00\);_(* "-"??_);_(@_)</c:formatCode>
                <c:ptCount val="20"/>
                <c:pt idx="0">
                  <c:v>5.3422370617689996</c:v>
                </c:pt>
                <c:pt idx="1">
                  <c:v>2.530703386676</c:v>
                </c:pt>
                <c:pt idx="2">
                  <c:v>4.4014084507040003</c:v>
                </c:pt>
                <c:pt idx="3">
                  <c:v>2.1406727828740002</c:v>
                </c:pt>
                <c:pt idx="4">
                  <c:v>2.2135416666659999</c:v>
                </c:pt>
                <c:pt idx="5">
                  <c:v>5.1724137931029999</c:v>
                </c:pt>
                <c:pt idx="6">
                  <c:v>1.9542155220540001</c:v>
                </c:pt>
                <c:pt idx="7">
                  <c:v>0.83148558758299995</c:v>
                </c:pt>
                <c:pt idx="8">
                  <c:v>1.252236135957</c:v>
                </c:pt>
                <c:pt idx="9">
                  <c:v>1.231113598209</c:v>
                </c:pt>
                <c:pt idx="10">
                  <c:v>0.55845122859200003</c:v>
                </c:pt>
                <c:pt idx="11">
                  <c:v>0.7</c:v>
                </c:pt>
                <c:pt idx="12">
                  <c:v>0.811084825954</c:v>
                </c:pt>
                <c:pt idx="13">
                  <c:v>1.0538641686179999</c:v>
                </c:pt>
                <c:pt idx="14">
                  <c:v>0.82726019302700005</c:v>
                </c:pt>
                <c:pt idx="15">
                  <c:v>2.1164021164019999</c:v>
                </c:pt>
                <c:pt idx="16">
                  <c:v>0.59121621621599996</c:v>
                </c:pt>
                <c:pt idx="17">
                  <c:v>2.1772939346809999</c:v>
                </c:pt>
                <c:pt idx="18">
                  <c:v>1.019367991845</c:v>
                </c:pt>
                <c:pt idx="19">
                  <c:v>0.384161880490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D0-47C0-898E-BF6258A712B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44-47A1-8932-0F6118E2CB1A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4-47A1-8932-0F6118E2CB1A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4-47A1-8932-0F6118E2CB1A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073-479C-A53C-670206C9E724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073-479C-A53C-670206C9E724}"/>
              </c:ext>
            </c:extLst>
          </c:dPt>
          <c:dPt>
            <c:idx val="5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073-479C-A53C-670206C9E724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073-479C-A53C-670206C9E724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073-479C-A53C-670206C9E724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073-479C-A53C-670206C9E724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073-479C-A53C-670206C9E724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7073-479C-A53C-670206C9E724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3C08-4FB3-8597-B972CE50FB90}"/>
              </c:ext>
            </c:extLst>
          </c:dPt>
          <c:dPt>
            <c:idx val="1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3C08-4FB3-8597-B972CE50FB90}"/>
              </c:ext>
            </c:extLst>
          </c:dPt>
          <c:dPt>
            <c:idx val="1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C08-4FB3-8597-B972CE50FB90}"/>
              </c:ext>
            </c:extLst>
          </c:dPt>
          <c:dPt>
            <c:idx val="1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3C08-4FB3-8597-B972CE50FB90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elhřimov</c:v>
                </c:pt>
                <c:pt idx="1">
                  <c:v>Plzeň-sever</c:v>
                </c:pt>
                <c:pt idx="2">
                  <c:v>Nymburk</c:v>
                </c:pt>
                <c:pt idx="3">
                  <c:v>Sokolov</c:v>
                </c:pt>
                <c:pt idx="4">
                  <c:v>Rakovník</c:v>
                </c:pt>
                <c:pt idx="5">
                  <c:v>Trutnov</c:v>
                </c:pt>
                <c:pt idx="6">
                  <c:v>Havlíčkův Brod</c:v>
                </c:pt>
                <c:pt idx="7">
                  <c:v>Kladno</c:v>
                </c:pt>
                <c:pt idx="8">
                  <c:v>Třebíč</c:v>
                </c:pt>
                <c:pt idx="9">
                  <c:v>Benešov</c:v>
                </c:pt>
                <c:pt idx="10">
                  <c:v>Mělník</c:v>
                </c:pt>
                <c:pt idx="11">
                  <c:v>Cheb</c:v>
                </c:pt>
                <c:pt idx="12">
                  <c:v>Domažlice</c:v>
                </c:pt>
                <c:pt idx="13">
                  <c:v>Příbram</c:v>
                </c:pt>
                <c:pt idx="14">
                  <c:v>Děčín</c:v>
                </c:pt>
                <c:pt idx="15">
                  <c:v>Plzeň-jih</c:v>
                </c:pt>
                <c:pt idx="16">
                  <c:v>Jeseník</c:v>
                </c:pt>
                <c:pt idx="17">
                  <c:v>Prostějov</c:v>
                </c:pt>
                <c:pt idx="18">
                  <c:v>Liberec</c:v>
                </c:pt>
                <c:pt idx="19">
                  <c:v>Chrudim</c:v>
                </c:pt>
              </c:strCache>
            </c:strRef>
          </c:cat>
          <c:val>
            <c:numRef>
              <c:f>Sheet1!$B$2:$B$21</c:f>
              <c:numCache>
                <c:formatCode>0.000</c:formatCode>
                <c:ptCount val="20"/>
                <c:pt idx="0">
                  <c:v>5</c:v>
                </c:pt>
                <c:pt idx="1">
                  <c:v>3</c:v>
                </c:pt>
                <c:pt idx="2">
                  <c:v>2.25</c:v>
                </c:pt>
                <c:pt idx="3">
                  <c:v>2</c:v>
                </c:pt>
                <c:pt idx="4">
                  <c:v>1.6666666666659999</c:v>
                </c:pt>
                <c:pt idx="5">
                  <c:v>1.6</c:v>
                </c:pt>
                <c:pt idx="6">
                  <c:v>1.384615384615</c:v>
                </c:pt>
                <c:pt idx="7">
                  <c:v>1.294117647058</c:v>
                </c:pt>
                <c:pt idx="8">
                  <c:v>1.25</c:v>
                </c:pt>
                <c:pt idx="9">
                  <c:v>1.2222222222220001</c:v>
                </c:pt>
                <c:pt idx="10">
                  <c:v>1.2222222222220001</c:v>
                </c:pt>
                <c:pt idx="11">
                  <c:v>1.1111111111109999</c:v>
                </c:pt>
                <c:pt idx="12">
                  <c:v>1.0625</c:v>
                </c:pt>
                <c:pt idx="13">
                  <c:v>1.052631578947</c:v>
                </c:pt>
                <c:pt idx="14">
                  <c:v>1.0370370370369999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0.96296296296200001</c:v>
                </c:pt>
                <c:pt idx="19">
                  <c:v>0.882352941176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.00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vé případy za 7 dní na 100 000 obyvatel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A9-49E6-9E93-BE08CED75D17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5A9-49E6-9E93-BE08CED75D17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5A9-49E6-9E93-BE08CED75D17}"/>
              </c:ext>
            </c:extLst>
          </c:dPt>
          <c:dPt>
            <c:idx val="3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4FC-4F2A-8850-F74443BEFA26}"/>
              </c:ext>
            </c:extLst>
          </c:dPt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FC-4F2A-8850-F74443BEFA26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73E9-4B36-9F13-8DFA296BC427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4FC-4F2A-8850-F74443BEFA26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FC-4F2A-8850-F74443BEFA26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84FC-4F2A-8850-F74443BEFA26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73E9-4B36-9F13-8DFA296BC427}"/>
              </c:ext>
            </c:extLst>
          </c:dPt>
          <c:dPt>
            <c:idx val="1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73E9-4B36-9F13-8DFA296BC427}"/>
              </c:ext>
            </c:extLst>
          </c:dPt>
          <c:dPt>
            <c:idx val="1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73E9-4B36-9F13-8DFA296BC427}"/>
              </c:ext>
            </c:extLst>
          </c:dPt>
          <c:dPt>
            <c:idx val="1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73E9-4B36-9F13-8DFA296BC42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elhřimov</c:v>
                </c:pt>
                <c:pt idx="1">
                  <c:v>Plzeň-sever</c:v>
                </c:pt>
                <c:pt idx="2">
                  <c:v>Nymburk</c:v>
                </c:pt>
                <c:pt idx="3">
                  <c:v>Sokolov</c:v>
                </c:pt>
                <c:pt idx="4">
                  <c:v>Rakovník</c:v>
                </c:pt>
                <c:pt idx="5">
                  <c:v>Trutnov</c:v>
                </c:pt>
                <c:pt idx="6">
                  <c:v>Havlíčkův Brod</c:v>
                </c:pt>
                <c:pt idx="7">
                  <c:v>Kladno</c:v>
                </c:pt>
                <c:pt idx="8">
                  <c:v>Třebíč</c:v>
                </c:pt>
                <c:pt idx="9">
                  <c:v>Benešov</c:v>
                </c:pt>
                <c:pt idx="10">
                  <c:v>Mělník</c:v>
                </c:pt>
                <c:pt idx="11">
                  <c:v>Cheb</c:v>
                </c:pt>
                <c:pt idx="12">
                  <c:v>Domažlice</c:v>
                </c:pt>
                <c:pt idx="13">
                  <c:v>Příbram</c:v>
                </c:pt>
                <c:pt idx="14">
                  <c:v>Děčín</c:v>
                </c:pt>
                <c:pt idx="15">
                  <c:v>Plzeň-jih</c:v>
                </c:pt>
                <c:pt idx="16">
                  <c:v>Jeseník</c:v>
                </c:pt>
                <c:pt idx="17">
                  <c:v>Prostějov</c:v>
                </c:pt>
                <c:pt idx="18">
                  <c:v>Liberec</c:v>
                </c:pt>
                <c:pt idx="19">
                  <c:v>Chrudim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6.9158206312760004</c:v>
                </c:pt>
                <c:pt idx="1">
                  <c:v>11.156425481275001</c:v>
                </c:pt>
                <c:pt idx="2">
                  <c:v>17.727178719506</c:v>
                </c:pt>
                <c:pt idx="3">
                  <c:v>4.5712718421079996</c:v>
                </c:pt>
                <c:pt idx="4">
                  <c:v>8.9707016882860007</c:v>
                </c:pt>
                <c:pt idx="5">
                  <c:v>6.8134975386240004</c:v>
                </c:pt>
                <c:pt idx="6">
                  <c:v>19.025070815541</c:v>
                </c:pt>
                <c:pt idx="7">
                  <c:v>13.185891096525999</c:v>
                </c:pt>
                <c:pt idx="8">
                  <c:v>13.59471437505</c:v>
                </c:pt>
                <c:pt idx="9">
                  <c:v>11.028453409797001</c:v>
                </c:pt>
                <c:pt idx="10">
                  <c:v>10.001181957867001</c:v>
                </c:pt>
                <c:pt idx="11">
                  <c:v>10.936850624493999</c:v>
                </c:pt>
                <c:pt idx="12">
                  <c:v>30.759209669248001</c:v>
                </c:pt>
                <c:pt idx="13">
                  <c:v>17.35568745878</c:v>
                </c:pt>
                <c:pt idx="14">
                  <c:v>21.798534827051</c:v>
                </c:pt>
                <c:pt idx="15">
                  <c:v>8.5554177182700002</c:v>
                </c:pt>
                <c:pt idx="16">
                  <c:v>5.3037736349409998</c:v>
                </c:pt>
                <c:pt idx="17">
                  <c:v>5.5297500552969998</c:v>
                </c:pt>
                <c:pt idx="18">
                  <c:v>29.635539851251998</c:v>
                </c:pt>
                <c:pt idx="19">
                  <c:v>14.325552966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5A9-49E6-9E93-BE08CED75D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2E-4D6A-9D87-419241CDACFF}"/>
              </c:ext>
            </c:extLst>
          </c:dPt>
          <c:dPt>
            <c:idx val="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2E-4D6A-9D87-419241CDACFF}"/>
              </c:ext>
            </c:extLst>
          </c:dPt>
          <c:dPt>
            <c:idx val="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62E-4D6A-9D87-419241CDACFF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620-444F-9EC4-BCE9F26ABDE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elhřimov</c:v>
                </c:pt>
                <c:pt idx="1">
                  <c:v>Plzeň-sever</c:v>
                </c:pt>
                <c:pt idx="2">
                  <c:v>Nymburk</c:v>
                </c:pt>
                <c:pt idx="3">
                  <c:v>Sokolov</c:v>
                </c:pt>
                <c:pt idx="4">
                  <c:v>Rakovník</c:v>
                </c:pt>
                <c:pt idx="5">
                  <c:v>Trutnov</c:v>
                </c:pt>
                <c:pt idx="6">
                  <c:v>Havlíčkův Brod</c:v>
                </c:pt>
                <c:pt idx="7">
                  <c:v>Kladno</c:v>
                </c:pt>
                <c:pt idx="8">
                  <c:v>Třebíč</c:v>
                </c:pt>
                <c:pt idx="9">
                  <c:v>Benešov</c:v>
                </c:pt>
                <c:pt idx="10">
                  <c:v>Mělník</c:v>
                </c:pt>
                <c:pt idx="11">
                  <c:v>Cheb</c:v>
                </c:pt>
                <c:pt idx="12">
                  <c:v>Domažlice</c:v>
                </c:pt>
                <c:pt idx="13">
                  <c:v>Příbram</c:v>
                </c:pt>
                <c:pt idx="14">
                  <c:v>Děčín</c:v>
                </c:pt>
                <c:pt idx="15">
                  <c:v>Plzeň-jih</c:v>
                </c:pt>
                <c:pt idx="16">
                  <c:v>Jeseník</c:v>
                </c:pt>
                <c:pt idx="17">
                  <c:v>Prostějov</c:v>
                </c:pt>
                <c:pt idx="18">
                  <c:v>Liberec</c:v>
                </c:pt>
                <c:pt idx="19">
                  <c:v>Chrudim</c:v>
                </c:pt>
              </c:strCache>
            </c:strRef>
          </c:cat>
          <c:val>
            <c:numRef>
              <c:f>Sheet1!$B$2:$B$21</c:f>
              <c:numCache>
                <c:formatCode>_(* #,##0.00_);_(* \(#,##0.00\);_(* "-"??_);_(@_)</c:formatCode>
                <c:ptCount val="20"/>
                <c:pt idx="0">
                  <c:v>1.190476190476</c:v>
                </c:pt>
                <c:pt idx="1">
                  <c:v>0.50083472454</c:v>
                </c:pt>
                <c:pt idx="2">
                  <c:v>2.1772939346809999</c:v>
                </c:pt>
                <c:pt idx="3">
                  <c:v>0</c:v>
                </c:pt>
                <c:pt idx="4">
                  <c:v>0.32258064516099999</c:v>
                </c:pt>
                <c:pt idx="5">
                  <c:v>0.53304904051099999</c:v>
                </c:pt>
                <c:pt idx="6">
                  <c:v>1.0538641686179999</c:v>
                </c:pt>
                <c:pt idx="7">
                  <c:v>0.85261875761200001</c:v>
                </c:pt>
                <c:pt idx="8">
                  <c:v>0.76161462300000005</c:v>
                </c:pt>
                <c:pt idx="9">
                  <c:v>2.044989775051</c:v>
                </c:pt>
                <c:pt idx="10">
                  <c:v>0.97902097901999996</c:v>
                </c:pt>
                <c:pt idx="11">
                  <c:v>1.2658227848100001</c:v>
                </c:pt>
                <c:pt idx="12">
                  <c:v>5.1724137931029999</c:v>
                </c:pt>
                <c:pt idx="13">
                  <c:v>1.019367991845</c:v>
                </c:pt>
                <c:pt idx="14">
                  <c:v>1.231113598209</c:v>
                </c:pt>
                <c:pt idx="15">
                  <c:v>0.73800738007300004</c:v>
                </c:pt>
                <c:pt idx="16">
                  <c:v>1.834862385321</c:v>
                </c:pt>
                <c:pt idx="17">
                  <c:v>1.0810810810810001</c:v>
                </c:pt>
                <c:pt idx="18">
                  <c:v>1.9542155220540001</c:v>
                </c:pt>
                <c:pt idx="19">
                  <c:v>0.896286811779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2E-4D6A-9D87-419241CDACF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#,##0.0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155:$H$322</c:f>
              <c:numCache>
                <c:formatCode>General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155:$I$322</c:f>
              <c:numCache>
                <c:formatCode>General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.0</c:formatCode>
                <c:ptCount val="168"/>
                <c:pt idx="0">
                  <c:v>445.18675485244489</c:v>
                </c:pt>
                <c:pt idx="1">
                  <c:v>444.756604652411</c:v>
                </c:pt>
                <c:pt idx="2">
                  <c:v>455.63192384022386</c:v>
                </c:pt>
                <c:pt idx="3">
                  <c:v>456.54833078812209</c:v>
                </c:pt>
                <c:pt idx="4">
                  <c:v>461.88780392332518</c:v>
                </c:pt>
                <c:pt idx="5">
                  <c:v>469.04138877171454</c:v>
                </c:pt>
                <c:pt idx="6">
                  <c:v>467.90055563249427</c:v>
                </c:pt>
                <c:pt idx="7">
                  <c:v>473.12781567203626</c:v>
                </c:pt>
                <c:pt idx="8">
                  <c:v>483.71325102939147</c:v>
                </c:pt>
                <c:pt idx="9">
                  <c:v>482.51631134234071</c:v>
                </c:pt>
                <c:pt idx="10">
                  <c:v>491.02580442996731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73468176693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5765858585878</c:v>
                </c:pt>
                <c:pt idx="19">
                  <c:v>608.73734177836616</c:v>
                </c:pt>
                <c:pt idx="20">
                  <c:v>619.84643824880618</c:v>
                </c:pt>
                <c:pt idx="21">
                  <c:v>643.27092196804188</c:v>
                </c:pt>
                <c:pt idx="22">
                  <c:v>673.49364906607377</c:v>
                </c:pt>
                <c:pt idx="23">
                  <c:v>700.20971692469914</c:v>
                </c:pt>
                <c:pt idx="24">
                  <c:v>727.17826424856173</c:v>
                </c:pt>
                <c:pt idx="25">
                  <c:v>759.79487072069514</c:v>
                </c:pt>
                <c:pt idx="26">
                  <c:v>769.60416549972831</c:v>
                </c:pt>
                <c:pt idx="27">
                  <c:v>774.46673297837219</c:v>
                </c:pt>
                <c:pt idx="28">
                  <c:v>783.02298152252411</c:v>
                </c:pt>
                <c:pt idx="29">
                  <c:v>791.82235844060824</c:v>
                </c:pt>
                <c:pt idx="30">
                  <c:v>805.30663210253965</c:v>
                </c:pt>
                <c:pt idx="31">
                  <c:v>805.87704867214961</c:v>
                </c:pt>
                <c:pt idx="32">
                  <c:v>790.86854712748959</c:v>
                </c:pt>
                <c:pt idx="33">
                  <c:v>803.08107237192951</c:v>
                </c:pt>
                <c:pt idx="34">
                  <c:v>797.42366213235368</c:v>
                </c:pt>
                <c:pt idx="35">
                  <c:v>781.78863747025309</c:v>
                </c:pt>
                <c:pt idx="36">
                  <c:v>768.51008781703354</c:v>
                </c:pt>
                <c:pt idx="37">
                  <c:v>761.95497281216956</c:v>
                </c:pt>
                <c:pt idx="38">
                  <c:v>730.12385800966319</c:v>
                </c:pt>
                <c:pt idx="39">
                  <c:v>746.86231144576379</c:v>
                </c:pt>
                <c:pt idx="40">
                  <c:v>726.54239003981593</c:v>
                </c:pt>
                <c:pt idx="41">
                  <c:v>720.46418069151127</c:v>
                </c:pt>
                <c:pt idx="42">
                  <c:v>720.24910559149441</c:v>
                </c:pt>
                <c:pt idx="43">
                  <c:v>707.77474979051226</c:v>
                </c:pt>
                <c:pt idx="44">
                  <c:v>684.3222127973612</c:v>
                </c:pt>
                <c:pt idx="45">
                  <c:v>678.86117547519211</c:v>
                </c:pt>
                <c:pt idx="46">
                  <c:v>629.75859503219533</c:v>
                </c:pt>
                <c:pt idx="47">
                  <c:v>615.81611789631495</c:v>
                </c:pt>
                <c:pt idx="48">
                  <c:v>607.00738988692569</c:v>
                </c:pt>
                <c:pt idx="49">
                  <c:v>584.64893057646952</c:v>
                </c:pt>
                <c:pt idx="50">
                  <c:v>556.04394227421722</c:v>
                </c:pt>
                <c:pt idx="51">
                  <c:v>526.30747192404965</c:v>
                </c:pt>
                <c:pt idx="52">
                  <c:v>500.73223720464466</c:v>
                </c:pt>
                <c:pt idx="53">
                  <c:v>482.05810786839163</c:v>
                </c:pt>
                <c:pt idx="54">
                  <c:v>468.05952418468064</c:v>
                </c:pt>
                <c:pt idx="55">
                  <c:v>462.00936811029123</c:v>
                </c:pt>
                <c:pt idx="56">
                  <c:v>449.81554504846162</c:v>
                </c:pt>
                <c:pt idx="57">
                  <c:v>427.9526935771749</c:v>
                </c:pt>
                <c:pt idx="58">
                  <c:v>413.12186276731148</c:v>
                </c:pt>
                <c:pt idx="59" formatCode="General">
                  <c:v>397.158341086718</c:v>
                </c:pt>
                <c:pt idx="60" formatCode="General">
                  <c:v>360.94940120692098</c:v>
                </c:pt>
                <c:pt idx="61" formatCode="General">
                  <c:v>344.03632219209902</c:v>
                </c:pt>
                <c:pt idx="62" formatCode="General">
                  <c:v>345.72763009358101</c:v>
                </c:pt>
                <c:pt idx="63" formatCode="General">
                  <c:v>294.17544394729902</c:v>
                </c:pt>
                <c:pt idx="64" formatCode="General">
                  <c:v>265.712881141141</c:v>
                </c:pt>
                <c:pt idx="65" formatCode="General">
                  <c:v>263.71321323552098</c:v>
                </c:pt>
                <c:pt idx="66" formatCode="General">
                  <c:v>254.72405190278201</c:v>
                </c:pt>
                <c:pt idx="67" formatCode="General">
                  <c:v>263.90009808651399</c:v>
                </c:pt>
                <c:pt idx="68" formatCode="General">
                  <c:v>264.311244758697</c:v>
                </c:pt>
                <c:pt idx="69" formatCode="General">
                  <c:v>255.52765676204899</c:v>
                </c:pt>
                <c:pt idx="70" formatCode="General">
                  <c:v>278.41170676608101</c:v>
                </c:pt>
                <c:pt idx="71" formatCode="General">
                  <c:v>273.46860245733001</c:v>
                </c:pt>
                <c:pt idx="72" formatCode="General">
                  <c:v>242.29620931177999</c:v>
                </c:pt>
                <c:pt idx="73" formatCode="General">
                  <c:v>223.42083936153699</c:v>
                </c:pt>
                <c:pt idx="74" formatCode="General">
                  <c:v>208.451362797038</c:v>
                </c:pt>
                <c:pt idx="75" formatCode="General">
                  <c:v>202.25612998663601</c:v>
                </c:pt>
                <c:pt idx="76" formatCode="General">
                  <c:v>200.83580511909301</c:v>
                </c:pt>
                <c:pt idx="77" formatCode="General">
                  <c:v>195.91138929544101</c:v>
                </c:pt>
                <c:pt idx="78" formatCode="General">
                  <c:v>184.333872776455</c:v>
                </c:pt>
                <c:pt idx="79" formatCode="General">
                  <c:v>177.18552722599199</c:v>
                </c:pt>
                <c:pt idx="80" formatCode="General">
                  <c:v>171.25193320698</c:v>
                </c:pt>
                <c:pt idx="81" formatCode="General">
                  <c:v>165.495879796411</c:v>
                </c:pt>
                <c:pt idx="82" formatCode="General">
                  <c:v>163.31867128234799</c:v>
                </c:pt>
                <c:pt idx="83" formatCode="General">
                  <c:v>163.243917341951</c:v>
                </c:pt>
                <c:pt idx="84" formatCode="General">
                  <c:v>156.12360451913699</c:v>
                </c:pt>
                <c:pt idx="85" formatCode="General">
                  <c:v>150.73197656800301</c:v>
                </c:pt>
                <c:pt idx="86" formatCode="General">
                  <c:v>146.405592267527</c:v>
                </c:pt>
                <c:pt idx="87" formatCode="General">
                  <c:v>142.67723949022599</c:v>
                </c:pt>
                <c:pt idx="88" formatCode="General">
                  <c:v>138.621838223689</c:v>
                </c:pt>
                <c:pt idx="89" formatCode="General">
                  <c:v>137.34167699439001</c:v>
                </c:pt>
                <c:pt idx="90" formatCode="General">
                  <c:v>134.379552106159</c:v>
                </c:pt>
                <c:pt idx="91" formatCode="General">
                  <c:v>131.01562478829399</c:v>
                </c:pt>
                <c:pt idx="92" formatCode="General">
                  <c:v>123.31596892740301</c:v>
                </c:pt>
                <c:pt idx="93" formatCode="General">
                  <c:v>117.569259759383</c:v>
                </c:pt>
                <c:pt idx="94" formatCode="General">
                  <c:v>111.43009240428</c:v>
                </c:pt>
                <c:pt idx="95" formatCode="General">
                  <c:v>106.48698809552801</c:v>
                </c:pt>
                <c:pt idx="96" formatCode="General">
                  <c:v>102.31945591839499</c:v>
                </c:pt>
                <c:pt idx="97" formatCode="General">
                  <c:v>101.151425599692</c:v>
                </c:pt>
                <c:pt idx="98" formatCode="General">
                  <c:v>94.844061878695001</c:v>
                </c:pt>
                <c:pt idx="99" formatCode="General">
                  <c:v>88.069486030217007</c:v>
                </c:pt>
                <c:pt idx="100" formatCode="General">
                  <c:v>82.378842317495</c:v>
                </c:pt>
                <c:pt idx="101" formatCode="General">
                  <c:v>79.117701667676002</c:v>
                </c:pt>
                <c:pt idx="102" formatCode="General">
                  <c:v>73.632631291045996</c:v>
                </c:pt>
                <c:pt idx="103" formatCode="General">
                  <c:v>72.436568244694001</c:v>
                </c:pt>
                <c:pt idx="104" formatCode="General">
                  <c:v>71.259193683440998</c:v>
                </c:pt>
                <c:pt idx="105" formatCode="General">
                  <c:v>67.371988782797004</c:v>
                </c:pt>
                <c:pt idx="106" formatCode="General">
                  <c:v>62.783965690930998</c:v>
                </c:pt>
                <c:pt idx="107" formatCode="General">
                  <c:v>58.242663811813003</c:v>
                </c:pt>
                <c:pt idx="108" formatCode="General">
                  <c:v>53.150051622267</c:v>
                </c:pt>
                <c:pt idx="109" formatCode="General">
                  <c:v>49.59923945341</c:v>
                </c:pt>
                <c:pt idx="110" formatCode="General">
                  <c:v>47.132359420309001</c:v>
                </c:pt>
                <c:pt idx="111" formatCode="General">
                  <c:v>46.562360624782002</c:v>
                </c:pt>
                <c:pt idx="112" formatCode="General">
                  <c:v>42.525647843343997</c:v>
                </c:pt>
                <c:pt idx="113" formatCode="General">
                  <c:v>37.489101109095998</c:v>
                </c:pt>
                <c:pt idx="114" formatCode="General">
                  <c:v>35.246482897185999</c:v>
                </c:pt>
                <c:pt idx="115" formatCode="General">
                  <c:v>33.629928936100001</c:v>
                </c:pt>
                <c:pt idx="116" formatCode="General">
                  <c:v>31.583539817733001</c:v>
                </c:pt>
                <c:pt idx="117" formatCode="General">
                  <c:v>30.546328894723999</c:v>
                </c:pt>
                <c:pt idx="118" formatCode="General">
                  <c:v>29.761412520556</c:v>
                </c:pt>
                <c:pt idx="119" formatCode="General">
                  <c:v>28.042071891425</c:v>
                </c:pt>
                <c:pt idx="120" formatCode="General">
                  <c:v>26.332075504843001</c:v>
                </c:pt>
                <c:pt idx="121" formatCode="General">
                  <c:v>24.575357905514</c:v>
                </c:pt>
                <c:pt idx="122" formatCode="General">
                  <c:v>23.818474258994002</c:v>
                </c:pt>
                <c:pt idx="123" formatCode="General">
                  <c:v>22.575689999893999</c:v>
                </c:pt>
                <c:pt idx="124" formatCode="General">
                  <c:v>21.921593021420001</c:v>
                </c:pt>
                <c:pt idx="125" formatCode="General">
                  <c:v>21.772085140626</c:v>
                </c:pt>
                <c:pt idx="126" formatCode="General">
                  <c:v>19.753728749907001</c:v>
                </c:pt>
                <c:pt idx="127" formatCode="General">
                  <c:v>18.884714192792</c:v>
                </c:pt>
                <c:pt idx="128" formatCode="General">
                  <c:v>17.950289937829002</c:v>
                </c:pt>
                <c:pt idx="129" formatCode="General">
                  <c:v>15.763737181217</c:v>
                </c:pt>
                <c:pt idx="130" formatCode="General">
                  <c:v>14.464887466819</c:v>
                </c:pt>
                <c:pt idx="131" formatCode="General">
                  <c:v>13.736036547948</c:v>
                </c:pt>
                <c:pt idx="132" formatCode="General">
                  <c:v>1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6.678663493405004</c:v>
                </c:pt>
                <c:pt idx="121" formatCode="0">
                  <c:v>25.004818149794943</c:v>
                </c:pt>
                <c:pt idx="122" formatCode="0">
                  <c:v>23.480590267066233</c:v>
                </c:pt>
                <c:pt idx="123" formatCode="0">
                  <c:v>22.077926571303614</c:v>
                </c:pt>
                <c:pt idx="124" formatCode="0">
                  <c:v>20.796827062507088</c:v>
                </c:pt>
                <c:pt idx="125" formatCode="0">
                  <c:v>19.618589558066489</c:v>
                </c:pt>
                <c:pt idx="126" formatCode="0">
                  <c:v>18.524511875371648</c:v>
                </c:pt>
                <c:pt idx="127" formatCode="0">
                  <c:v>17.486540740507309</c:v>
                </c:pt>
                <c:pt idx="128" formatCode="0">
                  <c:v>16.504676153473476</c:v>
                </c:pt>
                <c:pt idx="129" formatCode="0">
                  <c:v>15.588269205575234</c:v>
                </c:pt>
                <c:pt idx="130" formatCode="0">
                  <c:v>14.737319896812579</c:v>
                </c:pt>
                <c:pt idx="131" formatCode="0">
                  <c:v>13.942477135880427</c:v>
                </c:pt>
                <c:pt idx="132" formatCode="0">
                  <c:v>13.194389831473698</c:v>
                </c:pt>
                <c:pt idx="133" formatCode="0">
                  <c:v>12.502409074897471</c:v>
                </c:pt>
                <c:pt idx="134" formatCode="0">
                  <c:v>11.8384815922365</c:v>
                </c:pt>
                <c:pt idx="135" formatCode="0">
                  <c:v>11.221309566100947</c:v>
                </c:pt>
                <c:pt idx="136" formatCode="0">
                  <c:v>10.641541905185731</c:v>
                </c:pt>
                <c:pt idx="137" formatCode="0">
                  <c:v>10.099178609490853</c:v>
                </c:pt>
                <c:pt idx="138" formatCode="0">
                  <c:v>9.5942196790163106</c:v>
                </c:pt>
                <c:pt idx="139" formatCode="0">
                  <c:v>9.1266651137621047</c:v>
                </c:pt>
                <c:pt idx="140" formatCode="0">
                  <c:v>8.6778127311180651</c:v>
                </c:pt>
                <c:pt idx="141" formatCode="0">
                  <c:v>8.2663647136943652</c:v>
                </c:pt>
                <c:pt idx="142" formatCode="0">
                  <c:v>7.8736188788808317</c:v>
                </c:pt>
                <c:pt idx="143" formatCode="0">
                  <c:v>7.5089263179825503</c:v>
                </c:pt>
                <c:pt idx="144" formatCode="0">
                  <c:v>7.1722870309995219</c:v>
                </c:pt>
                <c:pt idx="145" formatCode="0">
                  <c:v>6.8449988353215776</c:v>
                </c:pt>
                <c:pt idx="146" formatCode="0">
                  <c:v>6.5364128222538023</c:v>
                </c:pt>
                <c:pt idx="147" formatCode="0">
                  <c:v>6.2465289917961941</c:v>
                </c:pt>
                <c:pt idx="148" formatCode="0">
                  <c:v>5.984698435253839</c:v>
                </c:pt>
                <c:pt idx="149" formatCode="0">
                  <c:v>5.732218970016568</c:v>
                </c:pt>
                <c:pt idx="150" formatCode="0">
                  <c:v>5.4984416873894641</c:v>
                </c:pt>
                <c:pt idx="151" formatCode="0">
                  <c:v>5.2740154960674452</c:v>
                </c:pt>
                <c:pt idx="152" formatCode="0">
                  <c:v>5.0682914873555944</c:v>
                </c:pt>
                <c:pt idx="153" formatCode="0">
                  <c:v>4.8719185699488285</c:v>
                </c:pt>
                <c:pt idx="154" formatCode="0">
                  <c:v>4.6942478351522299</c:v>
                </c:pt>
                <c:pt idx="155" formatCode="0">
                  <c:v>4.5165771003556312</c:v>
                </c:pt>
                <c:pt idx="156" formatCode="0">
                  <c:v>4.3669596394742856</c:v>
                </c:pt>
                <c:pt idx="157" formatCode="0">
                  <c:v>4.2173421785929399</c:v>
                </c:pt>
                <c:pt idx="158" formatCode="0">
                  <c:v>4.0864269003217615</c:v>
                </c:pt>
                <c:pt idx="159" formatCode="0">
                  <c:v>3.9555116220505839</c:v>
                </c:pt>
                <c:pt idx="160" formatCode="0">
                  <c:v>3.8339474350844904</c:v>
                </c:pt>
                <c:pt idx="161" formatCode="0">
                  <c:v>3.7217343394234805</c:v>
                </c:pt>
                <c:pt idx="162" formatCode="0">
                  <c:v>3.6095212437624715</c:v>
                </c:pt>
                <c:pt idx="163" formatCode="0">
                  <c:v>3.5066592394065461</c:v>
                </c:pt>
                <c:pt idx="164" formatCode="0">
                  <c:v>3.4131483263557048</c:v>
                </c:pt>
                <c:pt idx="165" formatCode="0">
                  <c:v>3.3196374133048638</c:v>
                </c:pt>
                <c:pt idx="166" formatCode="0">
                  <c:v>3.2261265002540225</c:v>
                </c:pt>
                <c:pt idx="167" formatCode="0">
                  <c:v>3.151317769813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015302780388033</c:v>
                </c:pt>
                <c:pt idx="121" formatCode="0">
                  <c:v>25.846416367252516</c:v>
                </c:pt>
                <c:pt idx="122" formatCode="0">
                  <c:v>24.911307236744104</c:v>
                </c:pt>
                <c:pt idx="123" formatCode="0">
                  <c:v>24.135166658422122</c:v>
                </c:pt>
                <c:pt idx="124" formatCode="0">
                  <c:v>23.546047906201821</c:v>
                </c:pt>
                <c:pt idx="125" formatCode="0">
                  <c:v>23.16265316269337</c:v>
                </c:pt>
                <c:pt idx="126" formatCode="0">
                  <c:v>22.984982427896774</c:v>
                </c:pt>
                <c:pt idx="127" formatCode="0">
                  <c:v>22.629640958303575</c:v>
                </c:pt>
                <c:pt idx="128" formatCode="0">
                  <c:v>22.218192940879877</c:v>
                </c:pt>
                <c:pt idx="129" formatCode="0">
                  <c:v>21.834798197371427</c:v>
                </c:pt>
                <c:pt idx="130" formatCode="0">
                  <c:v>21.516861092998568</c:v>
                </c:pt>
                <c:pt idx="131" formatCode="0">
                  <c:v>21.255030536456211</c:v>
                </c:pt>
                <c:pt idx="132" formatCode="0">
                  <c:v>21.002551071218942</c:v>
                </c:pt>
                <c:pt idx="133" formatCode="0">
                  <c:v>20.7313694233715</c:v>
                </c:pt>
                <c:pt idx="134" formatCode="0">
                  <c:v>20.422783410303722</c:v>
                </c:pt>
                <c:pt idx="135" formatCode="0">
                  <c:v>20.123548488541033</c:v>
                </c:pt>
                <c:pt idx="136" formatCode="0">
                  <c:v>19.843015749388506</c:v>
                </c:pt>
                <c:pt idx="137" formatCode="0">
                  <c:v>19.599887375456323</c:v>
                </c:pt>
                <c:pt idx="138" formatCode="0">
                  <c:v>19.347407910219051</c:v>
                </c:pt>
                <c:pt idx="139" formatCode="0">
                  <c:v>19.085577353676694</c:v>
                </c:pt>
                <c:pt idx="140" formatCode="0">
                  <c:v>18.823746797134341</c:v>
                </c:pt>
                <c:pt idx="141" formatCode="0">
                  <c:v>18.571267331897069</c:v>
                </c:pt>
                <c:pt idx="142" formatCode="0">
                  <c:v>18.328138957964878</c:v>
                </c:pt>
                <c:pt idx="143" formatCode="0">
                  <c:v>18.103712766642861</c:v>
                </c:pt>
                <c:pt idx="144" formatCode="0">
                  <c:v>17.879286575320844</c:v>
                </c:pt>
                <c:pt idx="145" formatCode="0">
                  <c:v>17.654860383998823</c:v>
                </c:pt>
                <c:pt idx="146" formatCode="0">
                  <c:v>17.430434192676806</c:v>
                </c:pt>
                <c:pt idx="147" formatCode="0">
                  <c:v>17.206008001354789</c:v>
                </c:pt>
                <c:pt idx="148" formatCode="0">
                  <c:v>16.990932901337853</c:v>
                </c:pt>
                <c:pt idx="149" formatCode="0">
                  <c:v>16.785208892626002</c:v>
                </c:pt>
                <c:pt idx="150" formatCode="0">
                  <c:v>16.579484883914152</c:v>
                </c:pt>
                <c:pt idx="151" formatCode="0">
                  <c:v>16.373760875202301</c:v>
                </c:pt>
                <c:pt idx="152" formatCode="0">
                  <c:v>16.16803686649045</c:v>
                </c:pt>
                <c:pt idx="153" formatCode="0">
                  <c:v>15.971663949083682</c:v>
                </c:pt>
                <c:pt idx="154" formatCode="0">
                  <c:v>15.784642122982</c:v>
                </c:pt>
                <c:pt idx="155" formatCode="0">
                  <c:v>15.597620296880317</c:v>
                </c:pt>
                <c:pt idx="156" formatCode="0">
                  <c:v>15.410598470778634</c:v>
                </c:pt>
                <c:pt idx="157" formatCode="0">
                  <c:v>15.232927735982036</c:v>
                </c:pt>
                <c:pt idx="158" formatCode="0">
                  <c:v>15.055257001185437</c:v>
                </c:pt>
                <c:pt idx="159" formatCode="0">
                  <c:v>14.886937357693922</c:v>
                </c:pt>
                <c:pt idx="160" formatCode="0">
                  <c:v>14.718617714202407</c:v>
                </c:pt>
                <c:pt idx="161" formatCode="0">
                  <c:v>14.550298070710896</c:v>
                </c:pt>
                <c:pt idx="162" formatCode="0">
                  <c:v>14.381978427219382</c:v>
                </c:pt>
                <c:pt idx="163" formatCode="0">
                  <c:v>14.22300987503295</c:v>
                </c:pt>
                <c:pt idx="164" formatCode="0">
                  <c:v>14.064041322846521</c:v>
                </c:pt>
                <c:pt idx="165" formatCode="0">
                  <c:v>13.905072770660091</c:v>
                </c:pt>
                <c:pt idx="166" formatCode="0">
                  <c:v>13.755455309778744</c:v>
                </c:pt>
                <c:pt idx="167" formatCode="0">
                  <c:v>13.605837848897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351942067371063</c:v>
                </c:pt>
                <c:pt idx="121" formatCode="0">
                  <c:v>26.697365676015167</c:v>
                </c:pt>
                <c:pt idx="122" formatCode="0">
                  <c:v>26.35137529772706</c:v>
                </c:pt>
                <c:pt idx="123" formatCode="0">
                  <c:v>26.19240674554063</c:v>
                </c:pt>
                <c:pt idx="124" formatCode="0">
                  <c:v>26.33267311511689</c:v>
                </c:pt>
                <c:pt idx="125" formatCode="0">
                  <c:v>26.828280954286345</c:v>
                </c:pt>
                <c:pt idx="126" formatCode="0">
                  <c:v>27.707283536964255</c:v>
                </c:pt>
                <c:pt idx="127" formatCode="0">
                  <c:v>28.249646832659135</c:v>
                </c:pt>
                <c:pt idx="128" formatCode="0">
                  <c:v>28.651743758777751</c:v>
                </c:pt>
                <c:pt idx="129" formatCode="0">
                  <c:v>29.091245050116708</c:v>
                </c:pt>
                <c:pt idx="130" formatCode="0">
                  <c:v>29.689714893642087</c:v>
                </c:pt>
                <c:pt idx="131" formatCode="0">
                  <c:v>30.391046741523397</c:v>
                </c:pt>
                <c:pt idx="132" formatCode="0">
                  <c:v>31.120431863319961</c:v>
                </c:pt>
                <c:pt idx="133" formatCode="0">
                  <c:v>31.784359345980935</c:v>
                </c:pt>
                <c:pt idx="134" formatCode="0">
                  <c:v>32.364127006896148</c:v>
                </c:pt>
                <c:pt idx="135" formatCode="0">
                  <c:v>32.971947941726619</c:v>
                </c:pt>
                <c:pt idx="136" formatCode="0">
                  <c:v>33.663928698302847</c:v>
                </c:pt>
                <c:pt idx="137" formatCode="0">
                  <c:v>34.421367094014656</c:v>
                </c:pt>
                <c:pt idx="138" formatCode="0">
                  <c:v>35.160103307116302</c:v>
                </c:pt>
                <c:pt idx="139" formatCode="0">
                  <c:v>35.870786246302693</c:v>
                </c:pt>
                <c:pt idx="140" formatCode="0">
                  <c:v>36.572118094183999</c:v>
                </c:pt>
                <c:pt idx="141" formatCode="0">
                  <c:v>37.282801033370397</c:v>
                </c:pt>
                <c:pt idx="142" formatCode="0">
                  <c:v>38.049590520387298</c:v>
                </c:pt>
                <c:pt idx="143" formatCode="0">
                  <c:v>38.844433281319446</c:v>
                </c:pt>
                <c:pt idx="144" formatCode="0">
                  <c:v>39.639276042251602</c:v>
                </c:pt>
                <c:pt idx="145" formatCode="0">
                  <c:v>40.424767711878665</c:v>
                </c:pt>
                <c:pt idx="146" formatCode="0">
                  <c:v>41.219610472810814</c:v>
                </c:pt>
                <c:pt idx="147" formatCode="0">
                  <c:v>42.042506507658217</c:v>
                </c:pt>
                <c:pt idx="148" formatCode="0">
                  <c:v>42.893455816420868</c:v>
                </c:pt>
                <c:pt idx="149" formatCode="0">
                  <c:v>43.763107307793696</c:v>
                </c:pt>
                <c:pt idx="150" formatCode="0">
                  <c:v>44.623407707861432</c:v>
                </c:pt>
                <c:pt idx="151" formatCode="0">
                  <c:v>45.502410290539338</c:v>
                </c:pt>
                <c:pt idx="152" formatCode="0">
                  <c:v>46.40011505582742</c:v>
                </c:pt>
                <c:pt idx="153" formatCode="0">
                  <c:v>47.316522003725666</c:v>
                </c:pt>
                <c:pt idx="154" formatCode="0">
                  <c:v>48.251631134234074</c:v>
                </c:pt>
                <c:pt idx="155" formatCode="0">
                  <c:v>49.214793538657737</c:v>
                </c:pt>
                <c:pt idx="156" formatCode="0">
                  <c:v>50.1779559430814</c:v>
                </c:pt>
                <c:pt idx="157" formatCode="0">
                  <c:v>51.169171621420318</c:v>
                </c:pt>
                <c:pt idx="158" formatCode="0">
                  <c:v>52.160387299759236</c:v>
                </c:pt>
                <c:pt idx="159" formatCode="0">
                  <c:v>53.179656252013409</c:v>
                </c:pt>
                <c:pt idx="160" formatCode="0">
                  <c:v>54.217627386877751</c:v>
                </c:pt>
                <c:pt idx="161" formatCode="0">
                  <c:v>55.264949613047165</c:v>
                </c:pt>
                <c:pt idx="162" formatCode="0">
                  <c:v>56.330974021826755</c:v>
                </c:pt>
                <c:pt idx="163" formatCode="0">
                  <c:v>57.4250517045216</c:v>
                </c:pt>
                <c:pt idx="164" formatCode="0">
                  <c:v>58.52848047852153</c:v>
                </c:pt>
                <c:pt idx="165" formatCode="0">
                  <c:v>59.659962526436701</c:v>
                </c:pt>
                <c:pt idx="166" formatCode="0">
                  <c:v>60.810146756962048</c:v>
                </c:pt>
                <c:pt idx="167" formatCode="0">
                  <c:v>61.979033170097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652.28417739136898</c:v>
                </c:pt>
                <c:pt idx="1">
                  <c:v>849.55929421058499</c:v>
                </c:pt>
                <c:pt idx="2">
                  <c:v>901.32613328668197</c:v>
                </c:pt>
                <c:pt idx="3">
                  <c:v>818.14711024411201</c:v>
                </c:pt>
                <c:pt idx="4">
                  <c:v>692.82844986648399</c:v>
                </c:pt>
                <c:pt idx="5">
                  <c:v>535.49246712723095</c:v>
                </c:pt>
                <c:pt idx="6">
                  <c:v>397.19083754454601</c:v>
                </c:pt>
                <c:pt idx="7">
                  <c:v>305.31982664435299</c:v>
                </c:pt>
                <c:pt idx="8">
                  <c:v>219.77526260255701</c:v>
                </c:pt>
                <c:pt idx="9">
                  <c:v>183.02685824247999</c:v>
                </c:pt>
                <c:pt idx="10">
                  <c:v>150.789485555346</c:v>
                </c:pt>
                <c:pt idx="11">
                  <c:v>111.455489870533</c:v>
                </c:pt>
                <c:pt idx="12">
                  <c:v>82.518872066040998</c:v>
                </c:pt>
                <c:pt idx="13">
                  <c:v>52.151927145738</c:v>
                </c:pt>
                <c:pt idx="14">
                  <c:v>33.887750128454002</c:v>
                </c:pt>
                <c:pt idx="15">
                  <c:v>27.176215200415999</c:v>
                </c:pt>
                <c:pt idx="16">
                  <c:v>17.328963133868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739.51740795669105</c:v>
                </c:pt>
                <c:pt idx="1">
                  <c:v>930.287911238932</c:v>
                </c:pt>
                <c:pt idx="2">
                  <c:v>965.91158449433101</c:v>
                </c:pt>
                <c:pt idx="3">
                  <c:v>865.60386079960699</c:v>
                </c:pt>
                <c:pt idx="4">
                  <c:v>712.86884438939001</c:v>
                </c:pt>
                <c:pt idx="5">
                  <c:v>522.13787903528998</c:v>
                </c:pt>
                <c:pt idx="6">
                  <c:v>382.56899269615798</c:v>
                </c:pt>
                <c:pt idx="7">
                  <c:v>294.00403365942799</c:v>
                </c:pt>
                <c:pt idx="8">
                  <c:v>222.75668714863099</c:v>
                </c:pt>
                <c:pt idx="9">
                  <c:v>184.76073820474801</c:v>
                </c:pt>
                <c:pt idx="10">
                  <c:v>156.80742300878001</c:v>
                </c:pt>
                <c:pt idx="11">
                  <c:v>114.185536472354</c:v>
                </c:pt>
                <c:pt idx="12">
                  <c:v>86.074069563820998</c:v>
                </c:pt>
                <c:pt idx="13">
                  <c:v>52.822671996906003</c:v>
                </c:pt>
                <c:pt idx="14">
                  <c:v>35.505059470973997</c:v>
                </c:pt>
                <c:pt idx="15">
                  <c:v>24.869356800938</c:v>
                </c:pt>
                <c:pt idx="16">
                  <c:v>15.143026478155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697.73612092146004</c:v>
                </c:pt>
                <c:pt idx="1">
                  <c:v>875.45518484041202</c:v>
                </c:pt>
                <c:pt idx="2">
                  <c:v>920.16185021152501</c:v>
                </c:pt>
                <c:pt idx="3">
                  <c:v>873.13929902163795</c:v>
                </c:pt>
                <c:pt idx="4">
                  <c:v>741.53657010261804</c:v>
                </c:pt>
                <c:pt idx="5">
                  <c:v>559.991260048301</c:v>
                </c:pt>
                <c:pt idx="6">
                  <c:v>405.58209034874699</c:v>
                </c:pt>
                <c:pt idx="7">
                  <c:v>320.54880452463601</c:v>
                </c:pt>
                <c:pt idx="8">
                  <c:v>221.62020378788199</c:v>
                </c:pt>
                <c:pt idx="9">
                  <c:v>184.36464931195499</c:v>
                </c:pt>
                <c:pt idx="10">
                  <c:v>152.999500070735</c:v>
                </c:pt>
                <c:pt idx="11">
                  <c:v>113.226678400488</c:v>
                </c:pt>
                <c:pt idx="12">
                  <c:v>76.273195987877997</c:v>
                </c:pt>
                <c:pt idx="13">
                  <c:v>47.274277909318002</c:v>
                </c:pt>
                <c:pt idx="14">
                  <c:v>25.424398662626</c:v>
                </c:pt>
                <c:pt idx="15">
                  <c:v>15.858783324212</c:v>
                </c:pt>
                <c:pt idx="16">
                  <c:v>10.270450152823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416.82288506062503</c:v>
                </c:pt>
                <c:pt idx="1">
                  <c:v>524.89380370208596</c:v>
                </c:pt>
                <c:pt idx="2">
                  <c:v>579.62499855055</c:v>
                </c:pt>
                <c:pt idx="3">
                  <c:v>526.67179449518505</c:v>
                </c:pt>
                <c:pt idx="4">
                  <c:v>468.461922008047</c:v>
                </c:pt>
                <c:pt idx="5">
                  <c:v>367.19375074888097</c:v>
                </c:pt>
                <c:pt idx="6">
                  <c:v>283.39627163060999</c:v>
                </c:pt>
                <c:pt idx="7">
                  <c:v>208.875266215469</c:v>
                </c:pt>
                <c:pt idx="8">
                  <c:v>156.61779768783799</c:v>
                </c:pt>
                <c:pt idx="9">
                  <c:v>120.362246298107</c:v>
                </c:pt>
                <c:pt idx="10">
                  <c:v>99.644788361116994</c:v>
                </c:pt>
                <c:pt idx="11">
                  <c:v>74.752917257719005</c:v>
                </c:pt>
                <c:pt idx="12">
                  <c:v>48.083055361222002</c:v>
                </c:pt>
                <c:pt idx="13">
                  <c:v>25.664910578657999</c:v>
                </c:pt>
                <c:pt idx="14">
                  <c:v>15.924613190372</c:v>
                </c:pt>
                <c:pt idx="15">
                  <c:v>9.8176013358120002</c:v>
                </c:pt>
                <c:pt idx="16">
                  <c:v>4.792844746615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444.99593513328398</c:v>
                </c:pt>
                <c:pt idx="1">
                  <c:v>532.65365832222096</c:v>
                </c:pt>
                <c:pt idx="2">
                  <c:v>557.17006639089504</c:v>
                </c:pt>
                <c:pt idx="3">
                  <c:v>491.02202197919098</c:v>
                </c:pt>
                <c:pt idx="4">
                  <c:v>439.44505028754702</c:v>
                </c:pt>
                <c:pt idx="5">
                  <c:v>340.80120084142101</c:v>
                </c:pt>
                <c:pt idx="6">
                  <c:v>252.10268674390801</c:v>
                </c:pt>
                <c:pt idx="7">
                  <c:v>181.791478697901</c:v>
                </c:pt>
                <c:pt idx="8">
                  <c:v>144.66993629203199</c:v>
                </c:pt>
                <c:pt idx="9">
                  <c:v>98.181275708979996</c:v>
                </c:pt>
                <c:pt idx="10">
                  <c:v>80.140899960333996</c:v>
                </c:pt>
                <c:pt idx="11">
                  <c:v>54.583700983084</c:v>
                </c:pt>
                <c:pt idx="12">
                  <c:v>37.237185840155</c:v>
                </c:pt>
                <c:pt idx="13">
                  <c:v>28.216997965830998</c:v>
                </c:pt>
                <c:pt idx="14">
                  <c:v>16.883941405784</c:v>
                </c:pt>
                <c:pt idx="15">
                  <c:v>10.523552520042999</c:v>
                </c:pt>
                <c:pt idx="16">
                  <c:v>5.666528280022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608.300845738048</c:v>
                </c:pt>
                <c:pt idx="1">
                  <c:v>769.04050607670104</c:v>
                </c:pt>
                <c:pt idx="2">
                  <c:v>802.51158288945805</c:v>
                </c:pt>
                <c:pt idx="3">
                  <c:v>726.85125096514298</c:v>
                </c:pt>
                <c:pt idx="4">
                  <c:v>615.37443734811495</c:v>
                </c:pt>
                <c:pt idx="5">
                  <c:v>467.74474930658698</c:v>
                </c:pt>
                <c:pt idx="6">
                  <c:v>344.03632219209902</c:v>
                </c:pt>
                <c:pt idx="7">
                  <c:v>264.311244758697</c:v>
                </c:pt>
                <c:pt idx="8">
                  <c:v>202.24678574408699</c:v>
                </c:pt>
                <c:pt idx="9">
                  <c:v>163.309327039799</c:v>
                </c:pt>
                <c:pt idx="10">
                  <c:v>137.34167699439001</c:v>
                </c:pt>
                <c:pt idx="11">
                  <c:v>102.31945591839499</c:v>
                </c:pt>
                <c:pt idx="12">
                  <c:v>72.436568244694001</c:v>
                </c:pt>
                <c:pt idx="13">
                  <c:v>47.132359420309001</c:v>
                </c:pt>
                <c:pt idx="14">
                  <c:v>30.546328894723999</c:v>
                </c:pt>
                <c:pt idx="15">
                  <c:v>21.921593021420001</c:v>
                </c:pt>
                <c:pt idx="16">
                  <c:v>13.736036547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  <c:pt idx="94">
                  <c:v>44350</c:v>
                </c:pt>
                <c:pt idx="95">
                  <c:v>44351</c:v>
                </c:pt>
                <c:pt idx="96">
                  <c:v>44352</c:v>
                </c:pt>
                <c:pt idx="97">
                  <c:v>44353</c:v>
                </c:pt>
                <c:pt idx="98">
                  <c:v>44354</c:v>
                </c:pt>
                <c:pt idx="99">
                  <c:v>44355</c:v>
                </c:pt>
                <c:pt idx="100">
                  <c:v>44356</c:v>
                </c:pt>
                <c:pt idx="101">
                  <c:v>44357</c:v>
                </c:pt>
                <c:pt idx="102">
                  <c:v>44358</c:v>
                </c:pt>
                <c:pt idx="103">
                  <c:v>44359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851</c:v>
                </c:pt>
                <c:pt idx="1">
                  <c:v>2399</c:v>
                </c:pt>
                <c:pt idx="2">
                  <c:v>2167</c:v>
                </c:pt>
                <c:pt idx="3">
                  <c:v>2054</c:v>
                </c:pt>
                <c:pt idx="4">
                  <c:v>1877</c:v>
                </c:pt>
                <c:pt idx="5">
                  <c:v>1311</c:v>
                </c:pt>
                <c:pt idx="6">
                  <c:v>645</c:v>
                </c:pt>
                <c:pt idx="7">
                  <c:v>1543</c:v>
                </c:pt>
                <c:pt idx="8">
                  <c:v>1983</c:v>
                </c:pt>
                <c:pt idx="9">
                  <c:v>2017</c:v>
                </c:pt>
                <c:pt idx="10">
                  <c:v>1628</c:v>
                </c:pt>
                <c:pt idx="11">
                  <c:v>2249</c:v>
                </c:pt>
                <c:pt idx="12">
                  <c:v>994</c:v>
                </c:pt>
                <c:pt idx="13">
                  <c:v>541</c:v>
                </c:pt>
                <c:pt idx="14">
                  <c:v>1624</c:v>
                </c:pt>
                <c:pt idx="15">
                  <c:v>2050</c:v>
                </c:pt>
                <c:pt idx="16">
                  <c:v>1787</c:v>
                </c:pt>
                <c:pt idx="17">
                  <c:v>1585</c:v>
                </c:pt>
                <c:pt idx="18">
                  <c:v>1430</c:v>
                </c:pt>
                <c:pt idx="19">
                  <c:v>843</c:v>
                </c:pt>
                <c:pt idx="20">
                  <c:v>440</c:v>
                </c:pt>
                <c:pt idx="21">
                  <c:v>1211</c:v>
                </c:pt>
                <c:pt idx="22">
                  <c:v>1621</c:v>
                </c:pt>
                <c:pt idx="23">
                  <c:v>1320</c:v>
                </c:pt>
                <c:pt idx="24">
                  <c:v>1288</c:v>
                </c:pt>
                <c:pt idx="25">
                  <c:v>1176</c:v>
                </c:pt>
                <c:pt idx="26">
                  <c:v>641</c:v>
                </c:pt>
                <c:pt idx="27">
                  <c:v>326</c:v>
                </c:pt>
                <c:pt idx="28">
                  <c:v>1117</c:v>
                </c:pt>
                <c:pt idx="29">
                  <c:v>1294</c:v>
                </c:pt>
                <c:pt idx="30">
                  <c:v>1193</c:v>
                </c:pt>
                <c:pt idx="31">
                  <c:v>989</c:v>
                </c:pt>
                <c:pt idx="32">
                  <c:v>550</c:v>
                </c:pt>
                <c:pt idx="33">
                  <c:v>377</c:v>
                </c:pt>
                <c:pt idx="34">
                  <c:v>327</c:v>
                </c:pt>
                <c:pt idx="35">
                  <c:v>290</c:v>
                </c:pt>
                <c:pt idx="36">
                  <c:v>816</c:v>
                </c:pt>
                <c:pt idx="37">
                  <c:v>980</c:v>
                </c:pt>
                <c:pt idx="38">
                  <c:v>782</c:v>
                </c:pt>
                <c:pt idx="39">
                  <c:v>716</c:v>
                </c:pt>
                <c:pt idx="40">
                  <c:v>363</c:v>
                </c:pt>
                <c:pt idx="41">
                  <c:v>202</c:v>
                </c:pt>
                <c:pt idx="42">
                  <c:v>578</c:v>
                </c:pt>
                <c:pt idx="43">
                  <c:v>690</c:v>
                </c:pt>
                <c:pt idx="44">
                  <c:v>581</c:v>
                </c:pt>
                <c:pt idx="45">
                  <c:v>468</c:v>
                </c:pt>
                <c:pt idx="46">
                  <c:v>513</c:v>
                </c:pt>
                <c:pt idx="47">
                  <c:v>245</c:v>
                </c:pt>
                <c:pt idx="48">
                  <c:v>144</c:v>
                </c:pt>
                <c:pt idx="49">
                  <c:v>469</c:v>
                </c:pt>
                <c:pt idx="50">
                  <c:v>490</c:v>
                </c:pt>
                <c:pt idx="51">
                  <c:v>412</c:v>
                </c:pt>
                <c:pt idx="52">
                  <c:v>400</c:v>
                </c:pt>
                <c:pt idx="53">
                  <c:v>335</c:v>
                </c:pt>
                <c:pt idx="54">
                  <c:v>156</c:v>
                </c:pt>
                <c:pt idx="55">
                  <c:v>120</c:v>
                </c:pt>
                <c:pt idx="56">
                  <c:v>371</c:v>
                </c:pt>
                <c:pt idx="57">
                  <c:v>384</c:v>
                </c:pt>
                <c:pt idx="58">
                  <c:v>330</c:v>
                </c:pt>
                <c:pt idx="59">
                  <c:v>302</c:v>
                </c:pt>
                <c:pt idx="60">
                  <c:v>303</c:v>
                </c:pt>
                <c:pt idx="61">
                  <c:v>172</c:v>
                </c:pt>
                <c:pt idx="62">
                  <c:v>86</c:v>
                </c:pt>
                <c:pt idx="63">
                  <c:v>299</c:v>
                </c:pt>
                <c:pt idx="64">
                  <c:v>310</c:v>
                </c:pt>
                <c:pt idx="65">
                  <c:v>251</c:v>
                </c:pt>
                <c:pt idx="66">
                  <c:v>223</c:v>
                </c:pt>
                <c:pt idx="67">
                  <c:v>179</c:v>
                </c:pt>
                <c:pt idx="68">
                  <c:v>91</c:v>
                </c:pt>
                <c:pt idx="69">
                  <c:v>56</c:v>
                </c:pt>
                <c:pt idx="70">
                  <c:v>214</c:v>
                </c:pt>
                <c:pt idx="71">
                  <c:v>184</c:v>
                </c:pt>
                <c:pt idx="72">
                  <c:v>133</c:v>
                </c:pt>
                <c:pt idx="73">
                  <c:v>155</c:v>
                </c:pt>
                <c:pt idx="74">
                  <c:v>132</c:v>
                </c:pt>
                <c:pt idx="75">
                  <c:v>70</c:v>
                </c:pt>
                <c:pt idx="76">
                  <c:v>29</c:v>
                </c:pt>
                <c:pt idx="77">
                  <c:v>117</c:v>
                </c:pt>
                <c:pt idx="78">
                  <c:v>139</c:v>
                </c:pt>
                <c:pt idx="79">
                  <c:v>92</c:v>
                </c:pt>
                <c:pt idx="80">
                  <c:v>91</c:v>
                </c:pt>
                <c:pt idx="81">
                  <c:v>76</c:v>
                </c:pt>
                <c:pt idx="82">
                  <c:v>32</c:v>
                </c:pt>
                <c:pt idx="83">
                  <c:v>19</c:v>
                </c:pt>
                <c:pt idx="84">
                  <c:v>68</c:v>
                </c:pt>
                <c:pt idx="85">
                  <c:v>80</c:v>
                </c:pt>
                <c:pt idx="86">
                  <c:v>59</c:v>
                </c:pt>
                <c:pt idx="87">
                  <c:v>48</c:v>
                </c:pt>
                <c:pt idx="88">
                  <c:v>59</c:v>
                </c:pt>
                <c:pt idx="89">
                  <c:v>19</c:v>
                </c:pt>
                <c:pt idx="90">
                  <c:v>12</c:v>
                </c:pt>
                <c:pt idx="91">
                  <c:v>49</c:v>
                </c:pt>
                <c:pt idx="92">
                  <c:v>40</c:v>
                </c:pt>
                <c:pt idx="93">
                  <c:v>33</c:v>
                </c:pt>
                <c:pt idx="94">
                  <c:v>44</c:v>
                </c:pt>
                <c:pt idx="95">
                  <c:v>31</c:v>
                </c:pt>
                <c:pt idx="96">
                  <c:v>9</c:v>
                </c:pt>
                <c:pt idx="97">
                  <c:v>4</c:v>
                </c:pt>
                <c:pt idx="98">
                  <c:v>28</c:v>
                </c:pt>
                <c:pt idx="99">
                  <c:v>23</c:v>
                </c:pt>
                <c:pt idx="100">
                  <c:v>22</c:v>
                </c:pt>
                <c:pt idx="101">
                  <c:v>23</c:v>
                </c:pt>
                <c:pt idx="102">
                  <c:v>9</c:v>
                </c:pt>
                <c:pt idx="10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  <c:pt idx="94">
                  <c:v>44350</c:v>
                </c:pt>
                <c:pt idx="95">
                  <c:v>44351</c:v>
                </c:pt>
                <c:pt idx="96">
                  <c:v>44352</c:v>
                </c:pt>
                <c:pt idx="97">
                  <c:v>44353</c:v>
                </c:pt>
                <c:pt idx="98">
                  <c:v>44354</c:v>
                </c:pt>
                <c:pt idx="99">
                  <c:v>44355</c:v>
                </c:pt>
                <c:pt idx="100">
                  <c:v>44356</c:v>
                </c:pt>
                <c:pt idx="101">
                  <c:v>44357</c:v>
                </c:pt>
                <c:pt idx="102">
                  <c:v>44358</c:v>
                </c:pt>
                <c:pt idx="103">
                  <c:v>44359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773</c:v>
                </c:pt>
                <c:pt idx="1">
                  <c:v>917</c:v>
                </c:pt>
                <c:pt idx="2">
                  <c:v>853</c:v>
                </c:pt>
                <c:pt idx="3">
                  <c:v>747</c:v>
                </c:pt>
                <c:pt idx="4">
                  <c:v>713</c:v>
                </c:pt>
                <c:pt idx="5">
                  <c:v>532</c:v>
                </c:pt>
                <c:pt idx="6">
                  <c:v>294</c:v>
                </c:pt>
                <c:pt idx="7">
                  <c:v>586</c:v>
                </c:pt>
                <c:pt idx="8">
                  <c:v>736</c:v>
                </c:pt>
                <c:pt idx="9">
                  <c:v>752</c:v>
                </c:pt>
                <c:pt idx="10">
                  <c:v>640</c:v>
                </c:pt>
                <c:pt idx="11">
                  <c:v>854</c:v>
                </c:pt>
                <c:pt idx="12">
                  <c:v>384</c:v>
                </c:pt>
                <c:pt idx="13">
                  <c:v>220</c:v>
                </c:pt>
                <c:pt idx="14">
                  <c:v>663</c:v>
                </c:pt>
                <c:pt idx="15">
                  <c:v>766</c:v>
                </c:pt>
                <c:pt idx="16">
                  <c:v>672</c:v>
                </c:pt>
                <c:pt idx="17">
                  <c:v>601</c:v>
                </c:pt>
                <c:pt idx="18">
                  <c:v>526</c:v>
                </c:pt>
                <c:pt idx="19">
                  <c:v>352</c:v>
                </c:pt>
                <c:pt idx="20">
                  <c:v>193</c:v>
                </c:pt>
                <c:pt idx="21">
                  <c:v>462</c:v>
                </c:pt>
                <c:pt idx="22">
                  <c:v>618</c:v>
                </c:pt>
                <c:pt idx="23">
                  <c:v>486</c:v>
                </c:pt>
                <c:pt idx="24">
                  <c:v>482</c:v>
                </c:pt>
                <c:pt idx="25">
                  <c:v>439</c:v>
                </c:pt>
                <c:pt idx="26">
                  <c:v>267</c:v>
                </c:pt>
                <c:pt idx="27">
                  <c:v>132</c:v>
                </c:pt>
                <c:pt idx="28">
                  <c:v>427</c:v>
                </c:pt>
                <c:pt idx="29">
                  <c:v>466</c:v>
                </c:pt>
                <c:pt idx="30">
                  <c:v>428</c:v>
                </c:pt>
                <c:pt idx="31">
                  <c:v>360</c:v>
                </c:pt>
                <c:pt idx="32">
                  <c:v>216</c:v>
                </c:pt>
                <c:pt idx="33">
                  <c:v>151</c:v>
                </c:pt>
                <c:pt idx="34">
                  <c:v>150</c:v>
                </c:pt>
                <c:pt idx="35">
                  <c:v>129</c:v>
                </c:pt>
                <c:pt idx="36">
                  <c:v>303</c:v>
                </c:pt>
                <c:pt idx="37">
                  <c:v>307</c:v>
                </c:pt>
                <c:pt idx="38">
                  <c:v>278</c:v>
                </c:pt>
                <c:pt idx="39">
                  <c:v>274</c:v>
                </c:pt>
                <c:pt idx="40">
                  <c:v>131</c:v>
                </c:pt>
                <c:pt idx="41">
                  <c:v>81</c:v>
                </c:pt>
                <c:pt idx="42">
                  <c:v>215</c:v>
                </c:pt>
                <c:pt idx="43">
                  <c:v>245</c:v>
                </c:pt>
                <c:pt idx="44">
                  <c:v>233</c:v>
                </c:pt>
                <c:pt idx="45">
                  <c:v>195</c:v>
                </c:pt>
                <c:pt idx="46">
                  <c:v>193</c:v>
                </c:pt>
                <c:pt idx="47">
                  <c:v>89</c:v>
                </c:pt>
                <c:pt idx="48">
                  <c:v>64</c:v>
                </c:pt>
                <c:pt idx="49">
                  <c:v>170</c:v>
                </c:pt>
                <c:pt idx="50">
                  <c:v>169</c:v>
                </c:pt>
                <c:pt idx="51">
                  <c:v>145</c:v>
                </c:pt>
                <c:pt idx="52">
                  <c:v>148</c:v>
                </c:pt>
                <c:pt idx="53">
                  <c:v>100</c:v>
                </c:pt>
                <c:pt idx="54">
                  <c:v>53</c:v>
                </c:pt>
                <c:pt idx="55">
                  <c:v>48</c:v>
                </c:pt>
                <c:pt idx="56">
                  <c:v>137</c:v>
                </c:pt>
                <c:pt idx="57">
                  <c:v>144</c:v>
                </c:pt>
                <c:pt idx="58">
                  <c:v>108</c:v>
                </c:pt>
                <c:pt idx="59">
                  <c:v>91</c:v>
                </c:pt>
                <c:pt idx="60">
                  <c:v>100</c:v>
                </c:pt>
                <c:pt idx="61">
                  <c:v>65</c:v>
                </c:pt>
                <c:pt idx="62">
                  <c:v>38</c:v>
                </c:pt>
                <c:pt idx="63">
                  <c:v>88</c:v>
                </c:pt>
                <c:pt idx="64">
                  <c:v>92</c:v>
                </c:pt>
                <c:pt idx="65">
                  <c:v>84</c:v>
                </c:pt>
                <c:pt idx="66">
                  <c:v>79</c:v>
                </c:pt>
                <c:pt idx="67">
                  <c:v>59</c:v>
                </c:pt>
                <c:pt idx="68">
                  <c:v>32</c:v>
                </c:pt>
                <c:pt idx="69">
                  <c:v>22</c:v>
                </c:pt>
                <c:pt idx="70">
                  <c:v>84</c:v>
                </c:pt>
                <c:pt idx="71">
                  <c:v>58</c:v>
                </c:pt>
                <c:pt idx="72">
                  <c:v>38</c:v>
                </c:pt>
                <c:pt idx="73">
                  <c:v>50</c:v>
                </c:pt>
                <c:pt idx="74">
                  <c:v>45</c:v>
                </c:pt>
                <c:pt idx="75">
                  <c:v>25</c:v>
                </c:pt>
                <c:pt idx="76">
                  <c:v>11</c:v>
                </c:pt>
                <c:pt idx="77">
                  <c:v>46</c:v>
                </c:pt>
                <c:pt idx="78">
                  <c:v>53</c:v>
                </c:pt>
                <c:pt idx="79">
                  <c:v>45</c:v>
                </c:pt>
                <c:pt idx="80">
                  <c:v>43</c:v>
                </c:pt>
                <c:pt idx="81">
                  <c:v>30</c:v>
                </c:pt>
                <c:pt idx="82">
                  <c:v>16</c:v>
                </c:pt>
                <c:pt idx="83">
                  <c:v>9</c:v>
                </c:pt>
                <c:pt idx="84">
                  <c:v>28</c:v>
                </c:pt>
                <c:pt idx="85">
                  <c:v>34</c:v>
                </c:pt>
                <c:pt idx="86">
                  <c:v>29</c:v>
                </c:pt>
                <c:pt idx="87">
                  <c:v>21</c:v>
                </c:pt>
                <c:pt idx="88">
                  <c:v>17</c:v>
                </c:pt>
                <c:pt idx="89">
                  <c:v>8</c:v>
                </c:pt>
                <c:pt idx="90">
                  <c:v>7</c:v>
                </c:pt>
                <c:pt idx="91">
                  <c:v>25</c:v>
                </c:pt>
                <c:pt idx="92">
                  <c:v>13</c:v>
                </c:pt>
                <c:pt idx="93">
                  <c:v>11</c:v>
                </c:pt>
                <c:pt idx="94">
                  <c:v>17</c:v>
                </c:pt>
                <c:pt idx="95">
                  <c:v>13</c:v>
                </c:pt>
                <c:pt idx="96">
                  <c:v>5</c:v>
                </c:pt>
                <c:pt idx="97">
                  <c:v>2</c:v>
                </c:pt>
                <c:pt idx="98">
                  <c:v>12</c:v>
                </c:pt>
                <c:pt idx="99">
                  <c:v>12</c:v>
                </c:pt>
                <c:pt idx="100">
                  <c:v>7</c:v>
                </c:pt>
                <c:pt idx="101">
                  <c:v>11</c:v>
                </c:pt>
                <c:pt idx="102">
                  <c:v>3</c:v>
                </c:pt>
                <c:pt idx="10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F-4B56-9C79-478BA9376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2452</c:v>
                </c:pt>
                <c:pt idx="1">
                  <c:v>2478</c:v>
                </c:pt>
                <c:pt idx="2">
                  <c:v>2667</c:v>
                </c:pt>
                <c:pt idx="3">
                  <c:v>2517</c:v>
                </c:pt>
                <c:pt idx="4">
                  <c:v>2343</c:v>
                </c:pt>
                <c:pt idx="5">
                  <c:v>2212</c:v>
                </c:pt>
                <c:pt idx="6">
                  <c:v>2118</c:v>
                </c:pt>
                <c:pt idx="7">
                  <c:v>1880</c:v>
                </c:pt>
                <c:pt idx="8">
                  <c:v>1861</c:v>
                </c:pt>
                <c:pt idx="9">
                  <c:v>1978</c:v>
                </c:pt>
                <c:pt idx="10">
                  <c:v>1821</c:v>
                </c:pt>
                <c:pt idx="11">
                  <c:v>1709</c:v>
                </c:pt>
                <c:pt idx="12">
                  <c:v>1611</c:v>
                </c:pt>
                <c:pt idx="13">
                  <c:v>1523</c:v>
                </c:pt>
                <c:pt idx="14">
                  <c:v>1325</c:v>
                </c:pt>
                <c:pt idx="15">
                  <c:v>1312</c:v>
                </c:pt>
                <c:pt idx="16">
                  <c:v>1392</c:v>
                </c:pt>
                <c:pt idx="17">
                  <c:v>1255</c:v>
                </c:pt>
                <c:pt idx="18">
                  <c:v>1147</c:v>
                </c:pt>
                <c:pt idx="19">
                  <c:v>1056</c:v>
                </c:pt>
                <c:pt idx="20">
                  <c:v>1008</c:v>
                </c:pt>
                <c:pt idx="21">
                  <c:v>865</c:v>
                </c:pt>
                <c:pt idx="22">
                  <c:v>846</c:v>
                </c:pt>
                <c:pt idx="23">
                  <c:v>877</c:v>
                </c:pt>
                <c:pt idx="24">
                  <c:v>786</c:v>
                </c:pt>
                <c:pt idx="25">
                  <c:v>760</c:v>
                </c:pt>
                <c:pt idx="26">
                  <c:v>669</c:v>
                </c:pt>
                <c:pt idx="27">
                  <c:v>611</c:v>
                </c:pt>
                <c:pt idx="28">
                  <c:v>515</c:v>
                </c:pt>
                <c:pt idx="29">
                  <c:v>514</c:v>
                </c:pt>
                <c:pt idx="30">
                  <c:v>551</c:v>
                </c:pt>
                <c:pt idx="31">
                  <c:v>477</c:v>
                </c:pt>
                <c:pt idx="32">
                  <c:v>441</c:v>
                </c:pt>
                <c:pt idx="33">
                  <c:v>394</c:v>
                </c:pt>
                <c:pt idx="34">
                  <c:v>366</c:v>
                </c:pt>
                <c:pt idx="35">
                  <c:v>303</c:v>
                </c:pt>
                <c:pt idx="36">
                  <c:v>301</c:v>
                </c:pt>
                <c:pt idx="37">
                  <c:v>301</c:v>
                </c:pt>
                <c:pt idx="38">
                  <c:v>282</c:v>
                </c:pt>
                <c:pt idx="39">
                  <c:v>254</c:v>
                </c:pt>
                <c:pt idx="40">
                  <c:v>229</c:v>
                </c:pt>
                <c:pt idx="41">
                  <c:v>178</c:v>
                </c:pt>
                <c:pt idx="42">
                  <c:v>155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502.82615099999998</c:v>
                </c:pt>
                <c:pt idx="32">
                  <c:v>465.44454500000001</c:v>
                </c:pt>
                <c:pt idx="33">
                  <c:v>430.634704</c:v>
                </c:pt>
                <c:pt idx="34">
                  <c:v>397.92441600000001</c:v>
                </c:pt>
                <c:pt idx="35">
                  <c:v>367.65085099999999</c:v>
                </c:pt>
                <c:pt idx="36">
                  <c:v>340.55668700000001</c:v>
                </c:pt>
                <c:pt idx="37">
                  <c:v>315.42744900000002</c:v>
                </c:pt>
                <c:pt idx="38">
                  <c:v>291.20712900000001</c:v>
                </c:pt>
                <c:pt idx="39">
                  <c:v>268.36195900000001</c:v>
                </c:pt>
                <c:pt idx="40">
                  <c:v>247.00770700000001</c:v>
                </c:pt>
                <c:pt idx="41">
                  <c:v>227.118696</c:v>
                </c:pt>
                <c:pt idx="42">
                  <c:v>209.12903299999999</c:v>
                </c:pt>
                <c:pt idx="43">
                  <c:v>192.87002899999999</c:v>
                </c:pt>
                <c:pt idx="44">
                  <c:v>177.56007700000001</c:v>
                </c:pt>
                <c:pt idx="45">
                  <c:v>162.808536</c:v>
                </c:pt>
                <c:pt idx="46">
                  <c:v>149.02484000000001</c:v>
                </c:pt>
                <c:pt idx="47">
                  <c:v>136.230896</c:v>
                </c:pt>
                <c:pt idx="48">
                  <c:v>124.359826</c:v>
                </c:pt>
                <c:pt idx="49">
                  <c:v>113.33568200000001</c:v>
                </c:pt>
                <c:pt idx="50">
                  <c:v>103.20351100000001</c:v>
                </c:pt>
                <c:pt idx="51">
                  <c:v>93.612288500000005</c:v>
                </c:pt>
                <c:pt idx="52">
                  <c:v>84.605095500000004</c:v>
                </c:pt>
                <c:pt idx="53">
                  <c:v>76.208644899999996</c:v>
                </c:pt>
                <c:pt idx="54">
                  <c:v>68.342205800000002</c:v>
                </c:pt>
                <c:pt idx="55">
                  <c:v>60.959015399999998</c:v>
                </c:pt>
                <c:pt idx="56">
                  <c:v>54.053853699999998</c:v>
                </c:pt>
                <c:pt idx="57">
                  <c:v>47.655241400000001</c:v>
                </c:pt>
                <c:pt idx="58">
                  <c:v>41.5613186</c:v>
                </c:pt>
                <c:pt idx="59">
                  <c:v>35.954308699999999</c:v>
                </c:pt>
                <c:pt idx="60">
                  <c:v>30.677593600000002</c:v>
                </c:pt>
                <c:pt idx="61">
                  <c:v>25.6784535</c:v>
                </c:pt>
                <c:pt idx="62">
                  <c:v>20.964634799999999</c:v>
                </c:pt>
                <c:pt idx="63">
                  <c:v>16.632971999999999</c:v>
                </c:pt>
                <c:pt idx="64">
                  <c:v>12.5675375</c:v>
                </c:pt>
                <c:pt idx="65">
                  <c:v>8.7113642900000006</c:v>
                </c:pt>
                <c:pt idx="66">
                  <c:v>5.1209448100000001</c:v>
                </c:pt>
                <c:pt idx="67">
                  <c:v>1.79776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14-4A00-9B4C-9F8EEC1A31E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14-4A00-9B4C-9F8EEC1A31E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503.97789799999998</c:v>
                </c:pt>
                <c:pt idx="32">
                  <c:v>468.53803399999998</c:v>
                </c:pt>
                <c:pt idx="33">
                  <c:v>436.12426799999997</c:v>
                </c:pt>
                <c:pt idx="34">
                  <c:v>406.05948000000001</c:v>
                </c:pt>
                <c:pt idx="35">
                  <c:v>378.745135</c:v>
                </c:pt>
                <c:pt idx="36">
                  <c:v>355.05964699999998</c:v>
                </c:pt>
                <c:pt idx="37">
                  <c:v>333.873446</c:v>
                </c:pt>
                <c:pt idx="38">
                  <c:v>314.05975100000001</c:v>
                </c:pt>
                <c:pt idx="39">
                  <c:v>295.87128999999999</c:v>
                </c:pt>
                <c:pt idx="40">
                  <c:v>279.32502299999999</c:v>
                </c:pt>
                <c:pt idx="41">
                  <c:v>264.31671299999999</c:v>
                </c:pt>
                <c:pt idx="42">
                  <c:v>251.335733</c:v>
                </c:pt>
                <c:pt idx="43">
                  <c:v>240.19736499999999</c:v>
                </c:pt>
                <c:pt idx="44">
                  <c:v>230.030765</c:v>
                </c:pt>
                <c:pt idx="45">
                  <c:v>220.364904</c:v>
                </c:pt>
                <c:pt idx="46">
                  <c:v>211.496477</c:v>
                </c:pt>
                <c:pt idx="47">
                  <c:v>203.44413700000001</c:v>
                </c:pt>
                <c:pt idx="48">
                  <c:v>196.176254</c:v>
                </c:pt>
                <c:pt idx="49">
                  <c:v>189.55929800000001</c:v>
                </c:pt>
                <c:pt idx="50">
                  <c:v>183.621837</c:v>
                </c:pt>
                <c:pt idx="51">
                  <c:v>178.03615500000001</c:v>
                </c:pt>
                <c:pt idx="52">
                  <c:v>172.78086300000001</c:v>
                </c:pt>
                <c:pt idx="53">
                  <c:v>167.87358499999999</c:v>
                </c:pt>
                <c:pt idx="54">
                  <c:v>163.27744000000001</c:v>
                </c:pt>
                <c:pt idx="55">
                  <c:v>158.93407300000001</c:v>
                </c:pt>
                <c:pt idx="56">
                  <c:v>154.84663399999999</c:v>
                </c:pt>
                <c:pt idx="57">
                  <c:v>151.021377</c:v>
                </c:pt>
                <c:pt idx="58">
                  <c:v>147.293238</c:v>
                </c:pt>
                <c:pt idx="59">
                  <c:v>143.79862800000001</c:v>
                </c:pt>
                <c:pt idx="60">
                  <c:v>140.449859</c:v>
                </c:pt>
                <c:pt idx="61">
                  <c:v>137.18829700000001</c:v>
                </c:pt>
                <c:pt idx="62">
                  <c:v>134.031327</c:v>
                </c:pt>
                <c:pt idx="63">
                  <c:v>131.055466</c:v>
                </c:pt>
                <c:pt idx="64">
                  <c:v>128.18436600000001</c:v>
                </c:pt>
                <c:pt idx="65">
                  <c:v>125.379295</c:v>
                </c:pt>
                <c:pt idx="66">
                  <c:v>122.677806</c:v>
                </c:pt>
                <c:pt idx="67">
                  <c:v>120.056788</c:v>
                </c:pt>
                <c:pt idx="68">
                  <c:v>117.529465</c:v>
                </c:pt>
                <c:pt idx="69">
                  <c:v>115.06716299999999</c:v>
                </c:pt>
                <c:pt idx="70">
                  <c:v>112.695024</c:v>
                </c:pt>
                <c:pt idx="71">
                  <c:v>110.380804</c:v>
                </c:pt>
                <c:pt idx="72">
                  <c:v>108.10055800000001</c:v>
                </c:pt>
                <c:pt idx="73">
                  <c:v>105.885927</c:v>
                </c:pt>
                <c:pt idx="74">
                  <c:v>103.74872999999999</c:v>
                </c:pt>
                <c:pt idx="75">
                  <c:v>101.661261</c:v>
                </c:pt>
                <c:pt idx="76">
                  <c:v>99.581150800000003</c:v>
                </c:pt>
                <c:pt idx="77">
                  <c:v>97.614035599999994</c:v>
                </c:pt>
                <c:pt idx="78">
                  <c:v>95.6641618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B14-4A00-9B4C-9F8EEC1A31E2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551</c:v>
                </c:pt>
                <c:pt idx="1">
                  <c:v>557</c:v>
                </c:pt>
                <c:pt idx="2">
                  <c:v>562</c:v>
                </c:pt>
                <c:pt idx="3">
                  <c:v>541</c:v>
                </c:pt>
                <c:pt idx="4">
                  <c:v>499</c:v>
                </c:pt>
                <c:pt idx="5">
                  <c:v>464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41</c:v>
                </c:pt>
                <c:pt idx="14">
                  <c:v>308</c:v>
                </c:pt>
                <c:pt idx="15">
                  <c:v>303</c:v>
                </c:pt>
                <c:pt idx="16">
                  <c:v>295</c:v>
                </c:pt>
                <c:pt idx="17">
                  <c:v>279</c:v>
                </c:pt>
                <c:pt idx="18">
                  <c:v>249</c:v>
                </c:pt>
                <c:pt idx="19">
                  <c:v>217</c:v>
                </c:pt>
                <c:pt idx="20">
                  <c:v>191</c:v>
                </c:pt>
                <c:pt idx="21">
                  <c:v>187</c:v>
                </c:pt>
                <c:pt idx="22">
                  <c:v>185</c:v>
                </c:pt>
                <c:pt idx="23">
                  <c:v>180</c:v>
                </c:pt>
                <c:pt idx="24">
                  <c:v>160</c:v>
                </c:pt>
                <c:pt idx="25">
                  <c:v>153</c:v>
                </c:pt>
                <c:pt idx="26">
                  <c:v>144</c:v>
                </c:pt>
                <c:pt idx="27">
                  <c:v>125</c:v>
                </c:pt>
                <c:pt idx="28">
                  <c:v>112</c:v>
                </c:pt>
                <c:pt idx="29">
                  <c:v>112</c:v>
                </c:pt>
                <c:pt idx="30">
                  <c:v>117</c:v>
                </c:pt>
                <c:pt idx="31">
                  <c:v>98</c:v>
                </c:pt>
                <c:pt idx="32">
                  <c:v>90</c:v>
                </c:pt>
                <c:pt idx="33">
                  <c:v>83</c:v>
                </c:pt>
                <c:pt idx="34">
                  <c:v>71</c:v>
                </c:pt>
                <c:pt idx="35">
                  <c:v>59</c:v>
                </c:pt>
                <c:pt idx="36">
                  <c:v>59</c:v>
                </c:pt>
                <c:pt idx="37">
                  <c:v>58</c:v>
                </c:pt>
                <c:pt idx="38">
                  <c:v>59</c:v>
                </c:pt>
                <c:pt idx="39">
                  <c:v>54</c:v>
                </c:pt>
                <c:pt idx="40">
                  <c:v>51</c:v>
                </c:pt>
                <c:pt idx="41">
                  <c:v>34</c:v>
                </c:pt>
                <c:pt idx="42">
                  <c:v>35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108.216054</c:v>
                </c:pt>
                <c:pt idx="32">
                  <c:v>99.791412100000002</c:v>
                </c:pt>
                <c:pt idx="33">
                  <c:v>91.971402699999999</c:v>
                </c:pt>
                <c:pt idx="34">
                  <c:v>84.482604600000002</c:v>
                </c:pt>
                <c:pt idx="35">
                  <c:v>77.506805099999994</c:v>
                </c:pt>
                <c:pt idx="36">
                  <c:v>71.164896799999994</c:v>
                </c:pt>
                <c:pt idx="37">
                  <c:v>65.243038799999994</c:v>
                </c:pt>
                <c:pt idx="38">
                  <c:v>59.682898799999997</c:v>
                </c:pt>
                <c:pt idx="39">
                  <c:v>54.492189199999999</c:v>
                </c:pt>
                <c:pt idx="40">
                  <c:v>49.613094099999998</c:v>
                </c:pt>
                <c:pt idx="41">
                  <c:v>44.965345200000002</c:v>
                </c:pt>
                <c:pt idx="42">
                  <c:v>40.667104000000002</c:v>
                </c:pt>
                <c:pt idx="43">
                  <c:v>36.778024500000001</c:v>
                </c:pt>
                <c:pt idx="44">
                  <c:v>33.040102699999998</c:v>
                </c:pt>
                <c:pt idx="45">
                  <c:v>29.563642999999999</c:v>
                </c:pt>
                <c:pt idx="46">
                  <c:v>26.3252594</c:v>
                </c:pt>
                <c:pt idx="47">
                  <c:v>23.140514199999998</c:v>
                </c:pt>
                <c:pt idx="48">
                  <c:v>20.267273400000001</c:v>
                </c:pt>
                <c:pt idx="49">
                  <c:v>17.5508977</c:v>
                </c:pt>
                <c:pt idx="50">
                  <c:v>14.9197281</c:v>
                </c:pt>
                <c:pt idx="51">
                  <c:v>12.565903</c:v>
                </c:pt>
                <c:pt idx="52">
                  <c:v>10.253795800000001</c:v>
                </c:pt>
                <c:pt idx="53">
                  <c:v>8.0900785000000006</c:v>
                </c:pt>
                <c:pt idx="54">
                  <c:v>6.04372489</c:v>
                </c:pt>
                <c:pt idx="55">
                  <c:v>4.0957453299999997</c:v>
                </c:pt>
                <c:pt idx="56">
                  <c:v>2.33872692</c:v>
                </c:pt>
                <c:pt idx="57">
                  <c:v>0.62440333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A9-4351-9C12-604784CC28D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A9-4351-9C12-604784CC28D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108.345489</c:v>
                </c:pt>
                <c:pt idx="32">
                  <c:v>100.152281</c:v>
                </c:pt>
                <c:pt idx="33">
                  <c:v>92.641355200000007</c:v>
                </c:pt>
                <c:pt idx="34">
                  <c:v>85.521567200000007</c:v>
                </c:pt>
                <c:pt idx="35">
                  <c:v>78.982847500000005</c:v>
                </c:pt>
                <c:pt idx="36">
                  <c:v>73.160313200000004</c:v>
                </c:pt>
                <c:pt idx="37">
                  <c:v>67.8558132</c:v>
                </c:pt>
                <c:pt idx="38">
                  <c:v>63.006656100000001</c:v>
                </c:pt>
                <c:pt idx="39">
                  <c:v>58.598275000000001</c:v>
                </c:pt>
                <c:pt idx="40">
                  <c:v>54.560571199999998</c:v>
                </c:pt>
                <c:pt idx="41">
                  <c:v>50.801782000000003</c:v>
                </c:pt>
                <c:pt idx="42">
                  <c:v>47.439826799999999</c:v>
                </c:pt>
                <c:pt idx="43">
                  <c:v>44.529173299999997</c:v>
                </c:pt>
                <c:pt idx="44">
                  <c:v>41.797348800000002</c:v>
                </c:pt>
                <c:pt idx="45">
                  <c:v>39.341598599999998</c:v>
                </c:pt>
                <c:pt idx="46">
                  <c:v>37.122095199999997</c:v>
                </c:pt>
                <c:pt idx="47">
                  <c:v>34.948284800000003</c:v>
                </c:pt>
                <c:pt idx="48">
                  <c:v>33.074871799999997</c:v>
                </c:pt>
                <c:pt idx="49">
                  <c:v>31.336528000000001</c:v>
                </c:pt>
                <c:pt idx="50">
                  <c:v>29.655785600000002</c:v>
                </c:pt>
                <c:pt idx="51">
                  <c:v>28.2244359</c:v>
                </c:pt>
                <c:pt idx="52">
                  <c:v>26.796647700000001</c:v>
                </c:pt>
                <c:pt idx="53">
                  <c:v>25.475558700000001</c:v>
                </c:pt>
                <c:pt idx="54">
                  <c:v>24.2320545</c:v>
                </c:pt>
                <c:pt idx="55">
                  <c:v>23.0434758</c:v>
                </c:pt>
                <c:pt idx="56">
                  <c:v>22.001704700000001</c:v>
                </c:pt>
                <c:pt idx="57">
                  <c:v>20.9554407</c:v>
                </c:pt>
                <c:pt idx="58">
                  <c:v>20.001618000000001</c:v>
                </c:pt>
                <c:pt idx="59">
                  <c:v>19.0711145</c:v>
                </c:pt>
                <c:pt idx="60">
                  <c:v>18.204523699999999</c:v>
                </c:pt>
                <c:pt idx="61">
                  <c:v>17.382268400000001</c:v>
                </c:pt>
                <c:pt idx="62">
                  <c:v>16.5664433</c:v>
                </c:pt>
                <c:pt idx="63">
                  <c:v>15.7835763</c:v>
                </c:pt>
                <c:pt idx="64">
                  <c:v>15.0303944</c:v>
                </c:pt>
                <c:pt idx="65">
                  <c:v>14.3266461</c:v>
                </c:pt>
                <c:pt idx="66">
                  <c:v>13.631684</c:v>
                </c:pt>
                <c:pt idx="67">
                  <c:v>12.975114</c:v>
                </c:pt>
                <c:pt idx="68">
                  <c:v>12.34618</c:v>
                </c:pt>
                <c:pt idx="69">
                  <c:v>11.7259191</c:v>
                </c:pt>
                <c:pt idx="70">
                  <c:v>11.1259295</c:v>
                </c:pt>
                <c:pt idx="71">
                  <c:v>10.547388400000001</c:v>
                </c:pt>
                <c:pt idx="72">
                  <c:v>9.9964870399999999</c:v>
                </c:pt>
                <c:pt idx="73">
                  <c:v>9.4551196300000004</c:v>
                </c:pt>
                <c:pt idx="74">
                  <c:v>8.9165794700000003</c:v>
                </c:pt>
                <c:pt idx="75">
                  <c:v>8.4241237699999996</c:v>
                </c:pt>
                <c:pt idx="76">
                  <c:v>7.9186102199999997</c:v>
                </c:pt>
                <c:pt idx="77">
                  <c:v>7.4517250400000004</c:v>
                </c:pt>
                <c:pt idx="78">
                  <c:v>6.9861353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5A9-4351-9C12-604784CC28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CB$5</c:f>
              <c:numCache>
                <c:formatCode>General</c:formatCode>
                <c:ptCount val="79"/>
                <c:pt idx="31">
                  <c:v>108.474923</c:v>
                </c:pt>
                <c:pt idx="32">
                  <c:v>100.516745</c:v>
                </c:pt>
                <c:pt idx="33">
                  <c:v>93.315938700000004</c:v>
                </c:pt>
                <c:pt idx="34">
                  <c:v>86.562305699999996</c:v>
                </c:pt>
                <c:pt idx="35">
                  <c:v>80.4746478</c:v>
                </c:pt>
                <c:pt idx="36">
                  <c:v>75.207821899999999</c:v>
                </c:pt>
                <c:pt idx="37">
                  <c:v>70.586714400000005</c:v>
                </c:pt>
                <c:pt idx="38">
                  <c:v>66.555922300000006</c:v>
                </c:pt>
                <c:pt idx="39">
                  <c:v>63.069769999999998</c:v>
                </c:pt>
                <c:pt idx="40">
                  <c:v>60.046059999999997</c:v>
                </c:pt>
                <c:pt idx="41">
                  <c:v>57.401267400000002</c:v>
                </c:pt>
                <c:pt idx="42">
                  <c:v>55.262796399999999</c:v>
                </c:pt>
                <c:pt idx="43">
                  <c:v>53.688152299999999</c:v>
                </c:pt>
                <c:pt idx="44">
                  <c:v>52.388123899999997</c:v>
                </c:pt>
                <c:pt idx="45">
                  <c:v>51.451150900000002</c:v>
                </c:pt>
                <c:pt idx="46">
                  <c:v>50.821773499999999</c:v>
                </c:pt>
                <c:pt idx="47">
                  <c:v>50.315192500000002</c:v>
                </c:pt>
                <c:pt idx="48">
                  <c:v>50.182124999999999</c:v>
                </c:pt>
                <c:pt idx="49">
                  <c:v>50.253386900000002</c:v>
                </c:pt>
                <c:pt idx="50">
                  <c:v>50.446592099999997</c:v>
                </c:pt>
                <c:pt idx="51">
                  <c:v>50.938384800000001</c:v>
                </c:pt>
                <c:pt idx="52">
                  <c:v>51.477762800000001</c:v>
                </c:pt>
                <c:pt idx="53">
                  <c:v>52.173609900000002</c:v>
                </c:pt>
                <c:pt idx="54">
                  <c:v>52.995091700000003</c:v>
                </c:pt>
                <c:pt idx="55">
                  <c:v>53.913669400000003</c:v>
                </c:pt>
                <c:pt idx="56">
                  <c:v>55.014189399999999</c:v>
                </c:pt>
                <c:pt idx="57">
                  <c:v>56.148138400000001</c:v>
                </c:pt>
                <c:pt idx="58">
                  <c:v>57.407308499999999</c:v>
                </c:pt>
                <c:pt idx="59">
                  <c:v>58.720502699999997</c:v>
                </c:pt>
                <c:pt idx="60">
                  <c:v>60.132998100000002</c:v>
                </c:pt>
                <c:pt idx="61">
                  <c:v>61.617678499999997</c:v>
                </c:pt>
                <c:pt idx="62">
                  <c:v>63.1410689</c:v>
                </c:pt>
                <c:pt idx="63">
                  <c:v>64.726405400000004</c:v>
                </c:pt>
                <c:pt idx="64">
                  <c:v>66.372072700000004</c:v>
                </c:pt>
                <c:pt idx="65">
                  <c:v>68.093681599999996</c:v>
                </c:pt>
                <c:pt idx="66">
                  <c:v>69.856440899999996</c:v>
                </c:pt>
                <c:pt idx="67">
                  <c:v>71.686767500000002</c:v>
                </c:pt>
                <c:pt idx="68">
                  <c:v>73.5728309</c:v>
                </c:pt>
                <c:pt idx="69">
                  <c:v>75.494614999999996</c:v>
                </c:pt>
                <c:pt idx="70">
                  <c:v>77.466152800000003</c:v>
                </c:pt>
                <c:pt idx="71">
                  <c:v>79.491869800000003</c:v>
                </c:pt>
                <c:pt idx="72">
                  <c:v>81.571774700000006</c:v>
                </c:pt>
                <c:pt idx="73">
                  <c:v>83.696452600000001</c:v>
                </c:pt>
                <c:pt idx="74">
                  <c:v>85.856845199999995</c:v>
                </c:pt>
                <c:pt idx="75">
                  <c:v>88.091995199999999</c:v>
                </c:pt>
                <c:pt idx="76">
                  <c:v>90.348452899999998</c:v>
                </c:pt>
                <c:pt idx="77">
                  <c:v>92.675103100000001</c:v>
                </c:pt>
                <c:pt idx="78">
                  <c:v>95.0405089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5A9-4351-9C12-604784CC28D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7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0C-437F-AF06-6849CD78ABD9}"/>
                </c:ext>
              </c:extLst>
            </c:dLbl>
            <c:dLbl>
              <c:idx val="7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0C-437F-AF06-6849CD78ABD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230</c:f>
              <c:numCache>
                <c:formatCode>m/d/yyyy</c:formatCode>
                <c:ptCount val="180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  <c:pt idx="67">
                  <c:v>44354</c:v>
                </c:pt>
                <c:pt idx="68">
                  <c:v>44355</c:v>
                </c:pt>
                <c:pt idx="69">
                  <c:v>44356</c:v>
                </c:pt>
                <c:pt idx="70">
                  <c:v>44357</c:v>
                </c:pt>
                <c:pt idx="71">
                  <c:v>44358</c:v>
                </c:pt>
                <c:pt idx="72">
                  <c:v>44359</c:v>
                </c:pt>
                <c:pt idx="73">
                  <c:v>44358</c:v>
                </c:pt>
                <c:pt idx="74">
                  <c:v>44359</c:v>
                </c:pt>
              </c:numCache>
            </c:numRef>
          </c:cat>
          <c:val>
            <c:numRef>
              <c:f>Sheet1!$B$51:$B$230</c:f>
              <c:numCache>
                <c:formatCode>General</c:formatCode>
                <c:ptCount val="180"/>
                <c:pt idx="0">
                  <c:v>24831</c:v>
                </c:pt>
                <c:pt idx="1">
                  <c:v>14627</c:v>
                </c:pt>
                <c:pt idx="2">
                  <c:v>8373</c:v>
                </c:pt>
                <c:pt idx="3">
                  <c:v>7095</c:v>
                </c:pt>
                <c:pt idx="4">
                  <c:v>7596</c:v>
                </c:pt>
                <c:pt idx="5">
                  <c:v>25682</c:v>
                </c:pt>
                <c:pt idx="6">
                  <c:v>27791</c:v>
                </c:pt>
                <c:pt idx="7">
                  <c:v>22340</c:v>
                </c:pt>
                <c:pt idx="8">
                  <c:v>22715</c:v>
                </c:pt>
                <c:pt idx="9">
                  <c:v>11120</c:v>
                </c:pt>
                <c:pt idx="10">
                  <c:v>5863</c:v>
                </c:pt>
                <c:pt idx="11">
                  <c:v>21494</c:v>
                </c:pt>
                <c:pt idx="12">
                  <c:v>24259</c:v>
                </c:pt>
                <c:pt idx="13">
                  <c:v>20995</c:v>
                </c:pt>
                <c:pt idx="14">
                  <c:v>17482</c:v>
                </c:pt>
                <c:pt idx="15">
                  <c:v>19185</c:v>
                </c:pt>
                <c:pt idx="16">
                  <c:v>9756</c:v>
                </c:pt>
                <c:pt idx="17">
                  <c:v>6188</c:v>
                </c:pt>
                <c:pt idx="18">
                  <c:v>21604</c:v>
                </c:pt>
                <c:pt idx="19">
                  <c:v>22293</c:v>
                </c:pt>
                <c:pt idx="20">
                  <c:v>19216</c:v>
                </c:pt>
                <c:pt idx="21">
                  <c:v>18156</c:v>
                </c:pt>
                <c:pt idx="22">
                  <c:v>18224</c:v>
                </c:pt>
                <c:pt idx="23">
                  <c:v>9221</c:v>
                </c:pt>
                <c:pt idx="24">
                  <c:v>5399</c:v>
                </c:pt>
                <c:pt idx="25">
                  <c:v>20925</c:v>
                </c:pt>
                <c:pt idx="26">
                  <c:v>20094</c:v>
                </c:pt>
                <c:pt idx="27">
                  <c:v>19746</c:v>
                </c:pt>
                <c:pt idx="28">
                  <c:v>18903</c:v>
                </c:pt>
                <c:pt idx="29">
                  <c:v>19369</c:v>
                </c:pt>
                <c:pt idx="30">
                  <c:v>10327</c:v>
                </c:pt>
                <c:pt idx="31">
                  <c:v>5780</c:v>
                </c:pt>
                <c:pt idx="32">
                  <c:v>19689</c:v>
                </c:pt>
                <c:pt idx="33">
                  <c:v>19759</c:v>
                </c:pt>
                <c:pt idx="34">
                  <c:v>16680</c:v>
                </c:pt>
                <c:pt idx="35">
                  <c:v>15918</c:v>
                </c:pt>
                <c:pt idx="36">
                  <c:v>17983</c:v>
                </c:pt>
                <c:pt idx="37">
                  <c:v>12137</c:v>
                </c:pt>
                <c:pt idx="38">
                  <c:v>5882</c:v>
                </c:pt>
                <c:pt idx="39">
                  <c:v>22221</c:v>
                </c:pt>
                <c:pt idx="40">
                  <c:v>17458</c:v>
                </c:pt>
                <c:pt idx="41">
                  <c:v>15270</c:v>
                </c:pt>
                <c:pt idx="42">
                  <c:v>14294</c:v>
                </c:pt>
                <c:pt idx="43">
                  <c:v>17372</c:v>
                </c:pt>
                <c:pt idx="44">
                  <c:v>15062</c:v>
                </c:pt>
                <c:pt idx="45">
                  <c:v>7117</c:v>
                </c:pt>
                <c:pt idx="46">
                  <c:v>36469</c:v>
                </c:pt>
                <c:pt idx="47">
                  <c:v>24669</c:v>
                </c:pt>
                <c:pt idx="48">
                  <c:v>25273</c:v>
                </c:pt>
                <c:pt idx="49">
                  <c:v>19317</c:v>
                </c:pt>
                <c:pt idx="50">
                  <c:v>27661</c:v>
                </c:pt>
                <c:pt idx="51">
                  <c:v>9898</c:v>
                </c:pt>
                <c:pt idx="52">
                  <c:v>4464</c:v>
                </c:pt>
                <c:pt idx="53">
                  <c:v>30279</c:v>
                </c:pt>
                <c:pt idx="54">
                  <c:v>21365</c:v>
                </c:pt>
                <c:pt idx="55">
                  <c:v>21796</c:v>
                </c:pt>
                <c:pt idx="56">
                  <c:v>17305</c:v>
                </c:pt>
                <c:pt idx="57">
                  <c:v>21960</c:v>
                </c:pt>
                <c:pt idx="58">
                  <c:v>8968</c:v>
                </c:pt>
                <c:pt idx="59">
                  <c:v>4503</c:v>
                </c:pt>
                <c:pt idx="60">
                  <c:v>28349</c:v>
                </c:pt>
                <c:pt idx="61">
                  <c:v>25736</c:v>
                </c:pt>
                <c:pt idx="62">
                  <c:v>26235</c:v>
                </c:pt>
                <c:pt idx="63">
                  <c:v>26129</c:v>
                </c:pt>
                <c:pt idx="64">
                  <c:v>26591</c:v>
                </c:pt>
                <c:pt idx="65">
                  <c:v>12058</c:v>
                </c:pt>
                <c:pt idx="66">
                  <c:v>5930</c:v>
                </c:pt>
                <c:pt idx="67">
                  <c:v>31454</c:v>
                </c:pt>
                <c:pt idx="68">
                  <c:v>22890</c:v>
                </c:pt>
                <c:pt idx="69">
                  <c:v>29689</c:v>
                </c:pt>
                <c:pt idx="70">
                  <c:v>19564</c:v>
                </c:pt>
                <c:pt idx="71">
                  <c:v>26981</c:v>
                </c:pt>
                <c:pt idx="72">
                  <c:v>10614</c:v>
                </c:pt>
                <c:pt idx="73">
                  <c:v>180</c:v>
                </c:pt>
                <c:pt idx="7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437F-AF06-6849CD78A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7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0C-437F-AF06-6849CD78ABD9}"/>
                </c:ext>
              </c:extLst>
            </c:dLbl>
            <c:dLbl>
              <c:idx val="7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0C-437F-AF06-6849CD78ABD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230</c:f>
              <c:numCache>
                <c:formatCode>m/d/yyyy</c:formatCode>
                <c:ptCount val="180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  <c:pt idx="67">
                  <c:v>44354</c:v>
                </c:pt>
                <c:pt idx="68">
                  <c:v>44355</c:v>
                </c:pt>
                <c:pt idx="69">
                  <c:v>44356</c:v>
                </c:pt>
                <c:pt idx="70">
                  <c:v>44357</c:v>
                </c:pt>
                <c:pt idx="71">
                  <c:v>44358</c:v>
                </c:pt>
                <c:pt idx="72">
                  <c:v>44359</c:v>
                </c:pt>
                <c:pt idx="73">
                  <c:v>44358</c:v>
                </c:pt>
                <c:pt idx="74">
                  <c:v>44359</c:v>
                </c:pt>
              </c:numCache>
            </c:numRef>
          </c:cat>
          <c:val>
            <c:numRef>
              <c:f>Sheet1!$B$51:$B$230</c:f>
              <c:numCache>
                <c:formatCode>General</c:formatCode>
                <c:ptCount val="180"/>
                <c:pt idx="0">
                  <c:v>234921</c:v>
                </c:pt>
                <c:pt idx="1">
                  <c:v>49159</c:v>
                </c:pt>
                <c:pt idx="2">
                  <c:v>35240</c:v>
                </c:pt>
                <c:pt idx="3">
                  <c:v>35350</c:v>
                </c:pt>
                <c:pt idx="4">
                  <c:v>53277</c:v>
                </c:pt>
                <c:pt idx="5">
                  <c:v>357587</c:v>
                </c:pt>
                <c:pt idx="6">
                  <c:v>238905</c:v>
                </c:pt>
                <c:pt idx="7">
                  <c:v>212249</c:v>
                </c:pt>
                <c:pt idx="8">
                  <c:v>149796</c:v>
                </c:pt>
                <c:pt idx="9">
                  <c:v>41485</c:v>
                </c:pt>
                <c:pt idx="10">
                  <c:v>52913</c:v>
                </c:pt>
                <c:pt idx="11">
                  <c:v>271795</c:v>
                </c:pt>
                <c:pt idx="12">
                  <c:v>238011</c:v>
                </c:pt>
                <c:pt idx="13">
                  <c:v>213414</c:v>
                </c:pt>
                <c:pt idx="14">
                  <c:v>209269</c:v>
                </c:pt>
                <c:pt idx="15">
                  <c:v>138318</c:v>
                </c:pt>
                <c:pt idx="16">
                  <c:v>40256</c:v>
                </c:pt>
                <c:pt idx="17">
                  <c:v>58818</c:v>
                </c:pt>
                <c:pt idx="18">
                  <c:v>272253</c:v>
                </c:pt>
                <c:pt idx="19">
                  <c:v>231439</c:v>
                </c:pt>
                <c:pt idx="20">
                  <c:v>209991</c:v>
                </c:pt>
                <c:pt idx="21">
                  <c:v>213141</c:v>
                </c:pt>
                <c:pt idx="22">
                  <c:v>144227</c:v>
                </c:pt>
                <c:pt idx="23">
                  <c:v>44809</c:v>
                </c:pt>
                <c:pt idx="24">
                  <c:v>54178</c:v>
                </c:pt>
                <c:pt idx="25">
                  <c:v>272290</c:v>
                </c:pt>
                <c:pt idx="26">
                  <c:v>238631</c:v>
                </c:pt>
                <c:pt idx="27">
                  <c:v>216476</c:v>
                </c:pt>
                <c:pt idx="28">
                  <c:v>221254</c:v>
                </c:pt>
                <c:pt idx="29">
                  <c:v>150105</c:v>
                </c:pt>
                <c:pt idx="30">
                  <c:v>34024</c:v>
                </c:pt>
                <c:pt idx="31">
                  <c:v>67399</c:v>
                </c:pt>
                <c:pt idx="32">
                  <c:v>319959</c:v>
                </c:pt>
                <c:pt idx="33">
                  <c:v>261999</c:v>
                </c:pt>
                <c:pt idx="34">
                  <c:v>231192</c:v>
                </c:pt>
                <c:pt idx="35">
                  <c:v>230033</c:v>
                </c:pt>
                <c:pt idx="36">
                  <c:v>154423</c:v>
                </c:pt>
                <c:pt idx="37">
                  <c:v>37207</c:v>
                </c:pt>
                <c:pt idx="38">
                  <c:v>66964</c:v>
                </c:pt>
                <c:pt idx="39">
                  <c:v>330060</c:v>
                </c:pt>
                <c:pt idx="40">
                  <c:v>258042</c:v>
                </c:pt>
                <c:pt idx="41">
                  <c:v>229273</c:v>
                </c:pt>
                <c:pt idx="42">
                  <c:v>237196</c:v>
                </c:pt>
                <c:pt idx="43">
                  <c:v>157768</c:v>
                </c:pt>
                <c:pt idx="44">
                  <c:v>38212</c:v>
                </c:pt>
                <c:pt idx="45">
                  <c:v>64730</c:v>
                </c:pt>
                <c:pt idx="46">
                  <c:v>356356</c:v>
                </c:pt>
                <c:pt idx="47">
                  <c:v>273428</c:v>
                </c:pt>
                <c:pt idx="48">
                  <c:v>242324</c:v>
                </c:pt>
                <c:pt idx="49">
                  <c:v>252131</c:v>
                </c:pt>
                <c:pt idx="50">
                  <c:v>187465</c:v>
                </c:pt>
                <c:pt idx="51">
                  <c:v>45620</c:v>
                </c:pt>
                <c:pt idx="52">
                  <c:v>66258</c:v>
                </c:pt>
                <c:pt idx="53">
                  <c:v>328685</c:v>
                </c:pt>
                <c:pt idx="54">
                  <c:v>235367</c:v>
                </c:pt>
                <c:pt idx="55">
                  <c:v>202629</c:v>
                </c:pt>
                <c:pt idx="56">
                  <c:v>213000</c:v>
                </c:pt>
                <c:pt idx="57">
                  <c:v>169619</c:v>
                </c:pt>
                <c:pt idx="58">
                  <c:v>45948</c:v>
                </c:pt>
                <c:pt idx="59">
                  <c:v>59227</c:v>
                </c:pt>
                <c:pt idx="60">
                  <c:v>299338</c:v>
                </c:pt>
                <c:pt idx="61">
                  <c:v>198409</c:v>
                </c:pt>
                <c:pt idx="62">
                  <c:v>177091</c:v>
                </c:pt>
                <c:pt idx="63">
                  <c:v>188062</c:v>
                </c:pt>
                <c:pt idx="64">
                  <c:v>151365</c:v>
                </c:pt>
                <c:pt idx="65">
                  <c:v>36827</c:v>
                </c:pt>
                <c:pt idx="66">
                  <c:v>47034</c:v>
                </c:pt>
                <c:pt idx="67">
                  <c:v>220996</c:v>
                </c:pt>
                <c:pt idx="68">
                  <c:v>154349</c:v>
                </c:pt>
                <c:pt idx="69">
                  <c:v>138066</c:v>
                </c:pt>
                <c:pt idx="70">
                  <c:v>143204</c:v>
                </c:pt>
                <c:pt idx="71">
                  <c:v>124322</c:v>
                </c:pt>
                <c:pt idx="72">
                  <c:v>29899</c:v>
                </c:pt>
                <c:pt idx="73">
                  <c:v>180</c:v>
                </c:pt>
                <c:pt idx="7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437F-AF06-6849CD78A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43776992540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  <c:pt idx="280">
                  <c:v>44356</c:v>
                </c:pt>
                <c:pt idx="281">
                  <c:v>44357</c:v>
                </c:pt>
                <c:pt idx="282">
                  <c:v>44358</c:v>
                </c:pt>
                <c:pt idx="283">
                  <c:v>44359</c:v>
                </c:pt>
                <c:pt idx="284">
                  <c:v>44360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7733381765346901E-2</c:v>
                </c:pt>
                <c:pt idx="1">
                  <c:v>7.7178173047934881E-2</c:v>
                </c:pt>
                <c:pt idx="2">
                  <c:v>9.1127922971114161E-2</c:v>
                </c:pt>
                <c:pt idx="3">
                  <c:v>7.7572347266881031E-2</c:v>
                </c:pt>
                <c:pt idx="4">
                  <c:v>0.13089937666963491</c:v>
                </c:pt>
                <c:pt idx="5">
                  <c:v>6.775186977562693E-2</c:v>
                </c:pt>
                <c:pt idx="6">
                  <c:v>9.5685604442545924E-2</c:v>
                </c:pt>
                <c:pt idx="7">
                  <c:v>9.8643366291101403E-2</c:v>
                </c:pt>
                <c:pt idx="8">
                  <c:v>0.11461826790293944</c:v>
                </c:pt>
                <c:pt idx="9">
                  <c:v>8.6903676694013984E-2</c:v>
                </c:pt>
                <c:pt idx="10">
                  <c:v>0.15590370653419947</c:v>
                </c:pt>
                <c:pt idx="11">
                  <c:v>0.16857855361596011</c:v>
                </c:pt>
                <c:pt idx="12">
                  <c:v>7.4606741573033708E-2</c:v>
                </c:pt>
                <c:pt idx="13">
                  <c:v>8.8358394047434508E-2</c:v>
                </c:pt>
                <c:pt idx="14">
                  <c:v>0.12513542795232935</c:v>
                </c:pt>
                <c:pt idx="15">
                  <c:v>0.18121508379888268</c:v>
                </c:pt>
                <c:pt idx="16">
                  <c:v>0.14159764894469676</c:v>
                </c:pt>
                <c:pt idx="17">
                  <c:v>0.14795918367346939</c:v>
                </c:pt>
                <c:pt idx="18">
                  <c:v>0.11468160377358491</c:v>
                </c:pt>
                <c:pt idx="19">
                  <c:v>9.3735280263777671E-2</c:v>
                </c:pt>
                <c:pt idx="20">
                  <c:v>0.13882863340563992</c:v>
                </c:pt>
                <c:pt idx="21">
                  <c:v>0.13673768459023786</c:v>
                </c:pt>
                <c:pt idx="22">
                  <c:v>0.15425075139544869</c:v>
                </c:pt>
                <c:pt idx="23">
                  <c:v>0.17142556105784426</c:v>
                </c:pt>
                <c:pt idx="24">
                  <c:v>0.15977670488835244</c:v>
                </c:pt>
                <c:pt idx="25">
                  <c:v>0.15134502923976609</c:v>
                </c:pt>
                <c:pt idx="26">
                  <c:v>0.1441129461907299</c:v>
                </c:pt>
                <c:pt idx="27">
                  <c:v>0.14672910458351071</c:v>
                </c:pt>
                <c:pt idx="28">
                  <c:v>0.1777306468716861</c:v>
                </c:pt>
                <c:pt idx="29">
                  <c:v>0.20693698094772839</c:v>
                </c:pt>
                <c:pt idx="30">
                  <c:v>0.2112353109773574</c:v>
                </c:pt>
                <c:pt idx="31">
                  <c:v>0.21999151703661812</c:v>
                </c:pt>
                <c:pt idx="32">
                  <c:v>0.26138189608998391</c:v>
                </c:pt>
                <c:pt idx="33">
                  <c:v>0.24260596974240153</c:v>
                </c:pt>
                <c:pt idx="34">
                  <c:v>0.24212652648976218</c:v>
                </c:pt>
                <c:pt idx="35">
                  <c:v>0.2758591285068645</c:v>
                </c:pt>
                <c:pt idx="36">
                  <c:v>0.28452855245683933</c:v>
                </c:pt>
                <c:pt idx="37">
                  <c:v>0.39627384296909657</c:v>
                </c:pt>
                <c:pt idx="38">
                  <c:v>0.32748347957967716</c:v>
                </c:pt>
                <c:pt idx="39">
                  <c:v>0.34183103833271306</c:v>
                </c:pt>
                <c:pt idx="40">
                  <c:v>0.25892125892125895</c:v>
                </c:pt>
                <c:pt idx="41">
                  <c:v>0.32831091567511639</c:v>
                </c:pt>
                <c:pt idx="42">
                  <c:v>0.34791782343142696</c:v>
                </c:pt>
                <c:pt idx="43">
                  <c:v>0.3521239038833846</c:v>
                </c:pt>
                <c:pt idx="44">
                  <c:v>0.35699404761904763</c:v>
                </c:pt>
                <c:pt idx="45">
                  <c:v>0.36587478346943825</c:v>
                </c:pt>
                <c:pt idx="46">
                  <c:v>0.37093128390596747</c:v>
                </c:pt>
                <c:pt idx="47">
                  <c:v>0.34906177235995067</c:v>
                </c:pt>
                <c:pt idx="48">
                  <c:v>0.36410605030591436</c:v>
                </c:pt>
                <c:pt idx="49">
                  <c:v>0.40691852526172051</c:v>
                </c:pt>
                <c:pt idx="50">
                  <c:v>0.38836757806180228</c:v>
                </c:pt>
                <c:pt idx="51">
                  <c:v>0.40471985872531707</c:v>
                </c:pt>
                <c:pt idx="52">
                  <c:v>0.3850948033707865</c:v>
                </c:pt>
                <c:pt idx="53">
                  <c:v>0.41526306650460149</c:v>
                </c:pt>
                <c:pt idx="54">
                  <c:v>0.36300960859888171</c:v>
                </c:pt>
                <c:pt idx="55">
                  <c:v>0.38201714389932517</c:v>
                </c:pt>
                <c:pt idx="56">
                  <c:v>0.39480588784631121</c:v>
                </c:pt>
                <c:pt idx="57">
                  <c:v>0.37412059217057275</c:v>
                </c:pt>
                <c:pt idx="58">
                  <c:v>0.34484559152618233</c:v>
                </c:pt>
                <c:pt idx="59">
                  <c:v>0.38155126009297774</c:v>
                </c:pt>
                <c:pt idx="60">
                  <c:v>0.38641150077831699</c:v>
                </c:pt>
                <c:pt idx="61">
                  <c:v>0.3739665787159191</c:v>
                </c:pt>
                <c:pt idx="62">
                  <c:v>0.34601412302542961</c:v>
                </c:pt>
                <c:pt idx="63">
                  <c:v>0.41496544916090822</c:v>
                </c:pt>
                <c:pt idx="64">
                  <c:v>0.38160729080364542</c:v>
                </c:pt>
                <c:pt idx="65">
                  <c:v>0.34462970493877365</c:v>
                </c:pt>
                <c:pt idx="66">
                  <c:v>0.35781425364758696</c:v>
                </c:pt>
                <c:pt idx="67">
                  <c:v>0.3255985811409991</c:v>
                </c:pt>
                <c:pt idx="68">
                  <c:v>0.25537854030501089</c:v>
                </c:pt>
                <c:pt idx="69">
                  <c:v>0.30509596293845137</c:v>
                </c:pt>
                <c:pt idx="70">
                  <c:v>0.32960862166761201</c:v>
                </c:pt>
                <c:pt idx="71">
                  <c:v>0.32171752564184242</c:v>
                </c:pt>
                <c:pt idx="72">
                  <c:v>0.2858381323920986</c:v>
                </c:pt>
                <c:pt idx="73">
                  <c:v>0.32085496920661755</c:v>
                </c:pt>
                <c:pt idx="74">
                  <c:v>0.27688243064729195</c:v>
                </c:pt>
                <c:pt idx="75">
                  <c:v>0.2535416498016676</c:v>
                </c:pt>
                <c:pt idx="76">
                  <c:v>0.30540059347181009</c:v>
                </c:pt>
                <c:pt idx="77">
                  <c:v>0.27193053639535825</c:v>
                </c:pt>
                <c:pt idx="78">
                  <c:v>0.29917764354850446</c:v>
                </c:pt>
                <c:pt idx="79">
                  <c:v>0.27104082718771383</c:v>
                </c:pt>
                <c:pt idx="80">
                  <c:v>0.27515047291487532</c:v>
                </c:pt>
                <c:pt idx="81">
                  <c:v>0.26300258207303578</c:v>
                </c:pt>
                <c:pt idx="82">
                  <c:v>0.22691175158383153</c:v>
                </c:pt>
                <c:pt idx="83">
                  <c:v>0.29103590393912976</c:v>
                </c:pt>
                <c:pt idx="84">
                  <c:v>0.26794871794871794</c:v>
                </c:pt>
                <c:pt idx="85">
                  <c:v>0.26095875620816239</c:v>
                </c:pt>
                <c:pt idx="86">
                  <c:v>0.24148731938971404</c:v>
                </c:pt>
                <c:pt idx="87">
                  <c:v>0.26321817140675702</c:v>
                </c:pt>
                <c:pt idx="88">
                  <c:v>0.21320017368649588</c:v>
                </c:pt>
                <c:pt idx="89">
                  <c:v>0.19750109601052171</c:v>
                </c:pt>
                <c:pt idx="90">
                  <c:v>0.28644873411582111</c:v>
                </c:pt>
                <c:pt idx="91">
                  <c:v>0.24798349277809043</c:v>
                </c:pt>
                <c:pt idx="92">
                  <c:v>0.2759375</c:v>
                </c:pt>
                <c:pt idx="93">
                  <c:v>0.26637977407208174</c:v>
                </c:pt>
                <c:pt idx="94">
                  <c:v>0.30913435030325309</c:v>
                </c:pt>
                <c:pt idx="95">
                  <c:v>0.20015278838808251</c:v>
                </c:pt>
                <c:pt idx="96">
                  <c:v>0.21705055911306509</c:v>
                </c:pt>
                <c:pt idx="97">
                  <c:v>0.28037460633184152</c:v>
                </c:pt>
                <c:pt idx="98">
                  <c:v>0.31461318051575932</c:v>
                </c:pt>
                <c:pt idx="99">
                  <c:v>0.28178870114353988</c:v>
                </c:pt>
                <c:pt idx="100">
                  <c:v>0.2690465152217586</c:v>
                </c:pt>
                <c:pt idx="101">
                  <c:v>0.30836665641341127</c:v>
                </c:pt>
                <c:pt idx="102">
                  <c:v>0.30308422301304866</c:v>
                </c:pt>
                <c:pt idx="103">
                  <c:v>0.2358621889681573</c:v>
                </c:pt>
                <c:pt idx="104">
                  <c:v>0.30729237925844849</c:v>
                </c:pt>
                <c:pt idx="105">
                  <c:v>0.31301048298925976</c:v>
                </c:pt>
                <c:pt idx="106">
                  <c:v>0.29653808110781404</c:v>
                </c:pt>
                <c:pt idx="107">
                  <c:v>0.31908886750080206</c:v>
                </c:pt>
                <c:pt idx="108">
                  <c:v>0.28607675229939739</c:v>
                </c:pt>
                <c:pt idx="109">
                  <c:v>0.35940366972477067</c:v>
                </c:pt>
                <c:pt idx="110">
                  <c:v>0.27694871051869024</c:v>
                </c:pt>
                <c:pt idx="111">
                  <c:v>0.3276994777921276</c:v>
                </c:pt>
                <c:pt idx="112">
                  <c:v>0.38708704178609143</c:v>
                </c:pt>
                <c:pt idx="113">
                  <c:v>0.41828087167070216</c:v>
                </c:pt>
                <c:pt idx="114">
                  <c:v>0.35242966751918159</c:v>
                </c:pt>
                <c:pt idx="115">
                  <c:v>0.35822376581493426</c:v>
                </c:pt>
                <c:pt idx="116">
                  <c:v>0.34786306612800338</c:v>
                </c:pt>
                <c:pt idx="117">
                  <c:v>0.40051193254535872</c:v>
                </c:pt>
                <c:pt idx="118">
                  <c:v>0.50291391463617696</c:v>
                </c:pt>
                <c:pt idx="119">
                  <c:v>0.49308681672025723</c:v>
                </c:pt>
                <c:pt idx="120">
                  <c:v>0.50227617602427921</c:v>
                </c:pt>
                <c:pt idx="121">
                  <c:v>0.4838255977496484</c:v>
                </c:pt>
                <c:pt idx="122">
                  <c:v>0.36076861489191353</c:v>
                </c:pt>
                <c:pt idx="123">
                  <c:v>0.41206349206349208</c:v>
                </c:pt>
                <c:pt idx="124">
                  <c:v>0.35488950120901985</c:v>
                </c:pt>
                <c:pt idx="125">
                  <c:v>0.41027372591392042</c:v>
                </c:pt>
                <c:pt idx="126">
                  <c:v>0.47708595185149377</c:v>
                </c:pt>
                <c:pt idx="127">
                  <c:v>0.40242910864925296</c:v>
                </c:pt>
                <c:pt idx="128">
                  <c:v>0.35698746503677614</c:v>
                </c:pt>
                <c:pt idx="129">
                  <c:v>0.4423783783783784</c:v>
                </c:pt>
                <c:pt idx="130">
                  <c:v>0.35157375025714871</c:v>
                </c:pt>
                <c:pt idx="131">
                  <c:v>0.27470168571248182</c:v>
                </c:pt>
                <c:pt idx="132">
                  <c:v>0.30409495548961424</c:v>
                </c:pt>
                <c:pt idx="133">
                  <c:v>0.3417882054533925</c:v>
                </c:pt>
                <c:pt idx="134">
                  <c:v>0.27738181818181817</c:v>
                </c:pt>
                <c:pt idx="135">
                  <c:v>0.30803602597221252</c:v>
                </c:pt>
                <c:pt idx="136">
                  <c:v>0.31220008724734621</c:v>
                </c:pt>
                <c:pt idx="137">
                  <c:v>0.29946204423191869</c:v>
                </c:pt>
                <c:pt idx="138">
                  <c:v>0.26532072172323345</c:v>
                </c:pt>
                <c:pt idx="139">
                  <c:v>0.33036419797428346</c:v>
                </c:pt>
                <c:pt idx="140">
                  <c:v>0.30662983425414364</c:v>
                </c:pt>
                <c:pt idx="141">
                  <c:v>0.32308517293770667</c:v>
                </c:pt>
                <c:pt idx="142">
                  <c:v>0.28455876994826207</c:v>
                </c:pt>
                <c:pt idx="143">
                  <c:v>0.30253251197809722</c:v>
                </c:pt>
                <c:pt idx="144">
                  <c:v>0.27335075114304375</c:v>
                </c:pt>
                <c:pt idx="145">
                  <c:v>0.23751240489579886</c:v>
                </c:pt>
                <c:pt idx="146">
                  <c:v>0.31051936619718312</c:v>
                </c:pt>
                <c:pt idx="147">
                  <c:v>0.29743739505001093</c:v>
                </c:pt>
                <c:pt idx="148">
                  <c:v>0.30780595912336861</c:v>
                </c:pt>
                <c:pt idx="149">
                  <c:v>0.2691174303816119</c:v>
                </c:pt>
                <c:pt idx="150">
                  <c:v>0.28167045255984624</c:v>
                </c:pt>
                <c:pt idx="151">
                  <c:v>0.31619447359216507</c:v>
                </c:pt>
                <c:pt idx="152">
                  <c:v>0.25045856261464067</c:v>
                </c:pt>
                <c:pt idx="153">
                  <c:v>0.30348509993506023</c:v>
                </c:pt>
                <c:pt idx="154">
                  <c:v>0.3133281371784879</c:v>
                </c:pt>
                <c:pt idx="155">
                  <c:v>0.28733953416865249</c:v>
                </c:pt>
                <c:pt idx="156">
                  <c:v>0.28185585318928519</c:v>
                </c:pt>
                <c:pt idx="157">
                  <c:v>0.3089458496010864</c:v>
                </c:pt>
                <c:pt idx="158">
                  <c:v>0.26312130691692737</c:v>
                </c:pt>
                <c:pt idx="159">
                  <c:v>0.27168636072181002</c:v>
                </c:pt>
                <c:pt idx="160">
                  <c:v>0.33591600289645185</c:v>
                </c:pt>
                <c:pt idx="161">
                  <c:v>0.32350352112676056</c:v>
                </c:pt>
                <c:pt idx="162">
                  <c:v>0.31413414172034859</c:v>
                </c:pt>
                <c:pt idx="163">
                  <c:v>0.28856977918891613</c:v>
                </c:pt>
                <c:pt idx="164">
                  <c:v>0.29408275248405752</c:v>
                </c:pt>
                <c:pt idx="165">
                  <c:v>0.27809847198641768</c:v>
                </c:pt>
                <c:pt idx="166">
                  <c:v>0.27167395883973422</c:v>
                </c:pt>
                <c:pt idx="167">
                  <c:v>0.36501368642179643</c:v>
                </c:pt>
                <c:pt idx="168">
                  <c:v>0.335032872668724</c:v>
                </c:pt>
                <c:pt idx="169">
                  <c:v>0.33733721077253759</c:v>
                </c:pt>
                <c:pt idx="170">
                  <c:v>0.30385021716163868</c:v>
                </c:pt>
                <c:pt idx="171">
                  <c:v>0.34992458521870284</c:v>
                </c:pt>
                <c:pt idx="172">
                  <c:v>0.3717688062735986</c:v>
                </c:pt>
                <c:pt idx="173">
                  <c:v>0.30617317122321491</c:v>
                </c:pt>
                <c:pt idx="174">
                  <c:v>0.38253435775348987</c:v>
                </c:pt>
                <c:pt idx="175">
                  <c:v>0.36466826538768987</c:v>
                </c:pt>
                <c:pt idx="176">
                  <c:v>0.36108705067128627</c:v>
                </c:pt>
                <c:pt idx="177">
                  <c:v>0.34031654971059777</c:v>
                </c:pt>
                <c:pt idx="178">
                  <c:v>0.32990987214420459</c:v>
                </c:pt>
                <c:pt idx="179">
                  <c:v>0.32697171763623822</c:v>
                </c:pt>
                <c:pt idx="180">
                  <c:v>0.31536221106773255</c:v>
                </c:pt>
                <c:pt idx="181">
                  <c:v>0.36882370139362636</c:v>
                </c:pt>
                <c:pt idx="182">
                  <c:v>0.36449801679287075</c:v>
                </c:pt>
                <c:pt idx="183">
                  <c:v>0.3668081093823668</c:v>
                </c:pt>
                <c:pt idx="184">
                  <c:v>0.29993461093506363</c:v>
                </c:pt>
                <c:pt idx="185">
                  <c:v>0.41702857142857142</c:v>
                </c:pt>
                <c:pt idx="186">
                  <c:v>0.31155895297660413</c:v>
                </c:pt>
                <c:pt idx="187">
                  <c:v>0.29723039871554724</c:v>
                </c:pt>
                <c:pt idx="188">
                  <c:v>0.362368949364265</c:v>
                </c:pt>
                <c:pt idx="189">
                  <c:v>0.35485290074237008</c:v>
                </c:pt>
                <c:pt idx="190">
                  <c:v>0.31292347858519304</c:v>
                </c:pt>
                <c:pt idx="191">
                  <c:v>0.3771316745876433</c:v>
                </c:pt>
                <c:pt idx="192">
                  <c:v>0.33671215074723848</c:v>
                </c:pt>
                <c:pt idx="193">
                  <c:v>0.29392298435619735</c:v>
                </c:pt>
                <c:pt idx="194">
                  <c:v>0.28001898433792122</c:v>
                </c:pt>
                <c:pt idx="195">
                  <c:v>0.35505445075757575</c:v>
                </c:pt>
                <c:pt idx="196">
                  <c:v>0.34231041814316088</c:v>
                </c:pt>
                <c:pt idx="197">
                  <c:v>0.3254183950793878</c:v>
                </c:pt>
                <c:pt idx="198">
                  <c:v>0.282520757930594</c:v>
                </c:pt>
                <c:pt idx="199">
                  <c:v>0.2775582504428396</c:v>
                </c:pt>
                <c:pt idx="200">
                  <c:v>0.24600638977635783</c:v>
                </c:pt>
                <c:pt idx="201">
                  <c:v>0.2299778410889522</c:v>
                </c:pt>
                <c:pt idx="202">
                  <c:v>0.3056754282725252</c:v>
                </c:pt>
                <c:pt idx="203">
                  <c:v>0.30278457772337819</c:v>
                </c:pt>
                <c:pt idx="204">
                  <c:v>0.24777265745007682</c:v>
                </c:pt>
                <c:pt idx="205">
                  <c:v>0.25850174498823147</c:v>
                </c:pt>
                <c:pt idx="206">
                  <c:v>0.27547021943573669</c:v>
                </c:pt>
                <c:pt idx="207">
                  <c:v>0.11980376968758069</c:v>
                </c:pt>
                <c:pt idx="208">
                  <c:v>0.20937500000000001</c:v>
                </c:pt>
                <c:pt idx="209">
                  <c:v>0.26205083260297984</c:v>
                </c:pt>
                <c:pt idx="210">
                  <c:v>0.25115900772671818</c:v>
                </c:pt>
                <c:pt idx="211">
                  <c:v>0.23934276586033776</c:v>
                </c:pt>
                <c:pt idx="212">
                  <c:v>0.25680793507664562</c:v>
                </c:pt>
                <c:pt idx="213">
                  <c:v>0.2233910891089109</c:v>
                </c:pt>
                <c:pt idx="214">
                  <c:v>0.18802062673542244</c:v>
                </c:pt>
                <c:pt idx="215">
                  <c:v>9.824382794604225E-2</c:v>
                </c:pt>
                <c:pt idx="216">
                  <c:v>0.18043959788720396</c:v>
                </c:pt>
                <c:pt idx="217">
                  <c:v>0.25031162355874104</c:v>
                </c:pt>
                <c:pt idx="218">
                  <c:v>0.24020190023752969</c:v>
                </c:pt>
                <c:pt idx="219">
                  <c:v>0.20358306188925082</c:v>
                </c:pt>
                <c:pt idx="220">
                  <c:v>0.17405719021964361</c:v>
                </c:pt>
                <c:pt idx="221">
                  <c:v>0.12866015971606035</c:v>
                </c:pt>
                <c:pt idx="222">
                  <c:v>0.12262066621346022</c:v>
                </c:pt>
                <c:pt idx="223">
                  <c:v>0.18631112655259272</c:v>
                </c:pt>
                <c:pt idx="224">
                  <c:v>0.15012083131947801</c:v>
                </c:pt>
                <c:pt idx="225">
                  <c:v>0.16328671328671329</c:v>
                </c:pt>
                <c:pt idx="226">
                  <c:v>0.14822021288771889</c:v>
                </c:pt>
                <c:pt idx="227">
                  <c:v>0.13376455368693402</c:v>
                </c:pt>
                <c:pt idx="228">
                  <c:v>0.10707547169811321</c:v>
                </c:pt>
                <c:pt idx="229">
                  <c:v>0.11829025844930417</c:v>
                </c:pt>
                <c:pt idx="230">
                  <c:v>0.15304264494489697</c:v>
                </c:pt>
                <c:pt idx="231">
                  <c:v>0.13616219809439398</c:v>
                </c:pt>
                <c:pt idx="232">
                  <c:v>0.13745144718706928</c:v>
                </c:pt>
                <c:pt idx="233">
                  <c:v>0.12409208420534286</c:v>
                </c:pt>
                <c:pt idx="234">
                  <c:v>0.11519099792715427</c:v>
                </c:pt>
                <c:pt idx="235">
                  <c:v>0.12792792792792793</c:v>
                </c:pt>
                <c:pt idx="236">
                  <c:v>9.8407552207494989E-2</c:v>
                </c:pt>
                <c:pt idx="237">
                  <c:v>0.14676781002638523</c:v>
                </c:pt>
                <c:pt idx="238">
                  <c:v>0.11026380873866447</c:v>
                </c:pt>
                <c:pt idx="239">
                  <c:v>0.10924268086135978</c:v>
                </c:pt>
                <c:pt idx="240">
                  <c:v>9.3173226595508113E-2</c:v>
                </c:pt>
                <c:pt idx="241">
                  <c:v>0.116551357104843</c:v>
                </c:pt>
                <c:pt idx="242">
                  <c:v>8.3608360836083612E-2</c:v>
                </c:pt>
                <c:pt idx="243">
                  <c:v>7.0978659396446361E-2</c:v>
                </c:pt>
                <c:pt idx="244">
                  <c:v>0.10922704250165162</c:v>
                </c:pt>
                <c:pt idx="245">
                  <c:v>8.3890715338397009E-2</c:v>
                </c:pt>
                <c:pt idx="246">
                  <c:v>8.04333970681963E-2</c:v>
                </c:pt>
                <c:pt idx="247">
                  <c:v>7.58082497212932E-2</c:v>
                </c:pt>
                <c:pt idx="248">
                  <c:v>6.3345017526289432E-2</c:v>
                </c:pt>
                <c:pt idx="249">
                  <c:v>6.1702127659574467E-2</c:v>
                </c:pt>
                <c:pt idx="250">
                  <c:v>5.0038689708537532E-2</c:v>
                </c:pt>
                <c:pt idx="251">
                  <c:v>8.8478366553232865E-2</c:v>
                </c:pt>
                <c:pt idx="252">
                  <c:v>5.9285533316442866E-2</c:v>
                </c:pt>
                <c:pt idx="253">
                  <c:v>6.574640671694891E-2</c:v>
                </c:pt>
                <c:pt idx="254">
                  <c:v>5.2884008582607597E-2</c:v>
                </c:pt>
                <c:pt idx="255">
                  <c:v>5.131922296317773E-2</c:v>
                </c:pt>
                <c:pt idx="256">
                  <c:v>3.3406352683461114E-2</c:v>
                </c:pt>
                <c:pt idx="257">
                  <c:v>2.858181818181818E-2</c:v>
                </c:pt>
                <c:pt idx="258">
                  <c:v>4.9707011517478278E-2</c:v>
                </c:pt>
                <c:pt idx="259">
                  <c:v>2.998274374460742E-2</c:v>
                </c:pt>
                <c:pt idx="260">
                  <c:v>3.6735277301315039E-2</c:v>
                </c:pt>
                <c:pt idx="261">
                  <c:v>2.5159914712153519E-2</c:v>
                </c:pt>
                <c:pt idx="262">
                  <c:v>2.7786259541984732E-2</c:v>
                </c:pt>
                <c:pt idx="263">
                  <c:v>2.9411764705882353E-2</c:v>
                </c:pt>
                <c:pt idx="264">
                  <c:v>1.7564221603218817E-2</c:v>
                </c:pt>
                <c:pt idx="265">
                  <c:v>2.0745094649494339E-2</c:v>
                </c:pt>
                <c:pt idx="266">
                  <c:v>3.0443414956982131E-2</c:v>
                </c:pt>
                <c:pt idx="267">
                  <c:v>2.2579457602159774E-2</c:v>
                </c:pt>
                <c:pt idx="268">
                  <c:v>1.8394471026049974E-2</c:v>
                </c:pt>
                <c:pt idx="269">
                  <c:v>2.3809523809523808E-2</c:v>
                </c:pt>
                <c:pt idx="270">
                  <c:v>1.1302475780409042E-2</c:v>
                </c:pt>
                <c:pt idx="271">
                  <c:v>1.5605493133583021E-2</c:v>
                </c:pt>
                <c:pt idx="272">
                  <c:v>1.9461934745277618E-2</c:v>
                </c:pt>
                <c:pt idx="273">
                  <c:v>1.3890675241157556E-2</c:v>
                </c:pt>
                <c:pt idx="274">
                  <c:v>1.8139190523198422E-2</c:v>
                </c:pt>
                <c:pt idx="275">
                  <c:v>1.0835734870317002E-2</c:v>
                </c:pt>
                <c:pt idx="276">
                  <c:v>1.3974096796182686E-2</c:v>
                </c:pt>
                <c:pt idx="277">
                  <c:v>9.0415913200723331E-3</c:v>
                </c:pt>
                <c:pt idx="278">
                  <c:v>7.4052976360011397E-3</c:v>
                </c:pt>
                <c:pt idx="279">
                  <c:v>1.3901857039111941E-2</c:v>
                </c:pt>
                <c:pt idx="280">
                  <c:v>9.135730858468678E-3</c:v>
                </c:pt>
                <c:pt idx="281">
                  <c:v>8.9741333802569063E-3</c:v>
                </c:pt>
                <c:pt idx="282">
                  <c:v>7.8910722574655739E-3</c:v>
                </c:pt>
                <c:pt idx="283">
                  <c:v>9.8135426889106973E-3</c:v>
                </c:pt>
                <c:pt idx="284">
                  <c:v>6.430868167202572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936-4518-82B2-079CF0E93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5475024485798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  <c:pt idx="280">
                  <c:v>44356</c:v>
                </c:pt>
                <c:pt idx="281">
                  <c:v>44357</c:v>
                </c:pt>
                <c:pt idx="282">
                  <c:v>44358</c:v>
                </c:pt>
                <c:pt idx="283">
                  <c:v>44359</c:v>
                </c:pt>
                <c:pt idx="284">
                  <c:v>44360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977859778597784E-2</c:v>
                </c:pt>
                <c:pt idx="1">
                  <c:v>3.6744186046511626E-2</c:v>
                </c:pt>
                <c:pt idx="2">
                  <c:v>3.4534534534534533E-2</c:v>
                </c:pt>
                <c:pt idx="3">
                  <c:v>4.5914922349763673E-2</c:v>
                </c:pt>
                <c:pt idx="4">
                  <c:v>5.749718151071026E-2</c:v>
                </c:pt>
                <c:pt idx="5">
                  <c:v>3.1896551724137932E-2</c:v>
                </c:pt>
                <c:pt idx="6">
                  <c:v>4.4626593806921674E-2</c:v>
                </c:pt>
                <c:pt idx="7">
                  <c:v>5.4971462901772301E-2</c:v>
                </c:pt>
                <c:pt idx="8">
                  <c:v>6.3700973940510663E-2</c:v>
                </c:pt>
                <c:pt idx="9">
                  <c:v>5.5020632737276476E-2</c:v>
                </c:pt>
                <c:pt idx="10">
                  <c:v>8.7026332691072572E-2</c:v>
                </c:pt>
                <c:pt idx="11">
                  <c:v>8.0438756855575874E-2</c:v>
                </c:pt>
                <c:pt idx="12">
                  <c:v>4.1656273384884014E-2</c:v>
                </c:pt>
                <c:pt idx="13">
                  <c:v>6.3355814428775803E-2</c:v>
                </c:pt>
                <c:pt idx="14">
                  <c:v>8.5063085063085062E-2</c:v>
                </c:pt>
                <c:pt idx="15">
                  <c:v>0.10748155953635406</c:v>
                </c:pt>
                <c:pt idx="16">
                  <c:v>7.6333089846603364E-2</c:v>
                </c:pt>
                <c:pt idx="17">
                  <c:v>9.1027988490714098E-2</c:v>
                </c:pt>
                <c:pt idx="18">
                  <c:v>7.0342205323193921E-2</c:v>
                </c:pt>
                <c:pt idx="19">
                  <c:v>6.7996567996568003E-2</c:v>
                </c:pt>
                <c:pt idx="20">
                  <c:v>8.3089846603360121E-2</c:v>
                </c:pt>
                <c:pt idx="21">
                  <c:v>8.4461195819770435E-2</c:v>
                </c:pt>
                <c:pt idx="22">
                  <c:v>0.10739936529146484</c:v>
                </c:pt>
                <c:pt idx="23">
                  <c:v>0.10956175298804781</c:v>
                </c:pt>
                <c:pt idx="24">
                  <c:v>0.11584619152583885</c:v>
                </c:pt>
                <c:pt idx="25">
                  <c:v>0.10934105720492397</c:v>
                </c:pt>
                <c:pt idx="26">
                  <c:v>8.4018022793533001E-2</c:v>
                </c:pt>
                <c:pt idx="27">
                  <c:v>0.10062630480167015</c:v>
                </c:pt>
                <c:pt idx="28">
                  <c:v>0.1215828713439113</c:v>
                </c:pt>
                <c:pt idx="29">
                  <c:v>0.13130979874628834</c:v>
                </c:pt>
                <c:pt idx="30">
                  <c:v>0.15249957919542165</c:v>
                </c:pt>
                <c:pt idx="31">
                  <c:v>0.15265726681127983</c:v>
                </c:pt>
                <c:pt idx="32">
                  <c:v>0.20080784766301213</c:v>
                </c:pt>
                <c:pt idx="33">
                  <c:v>0.1730631704410012</c:v>
                </c:pt>
                <c:pt idx="34">
                  <c:v>0.16217175301632364</c:v>
                </c:pt>
                <c:pt idx="35">
                  <c:v>0.19240769630785232</c:v>
                </c:pt>
                <c:pt idx="36">
                  <c:v>0.18900115951631605</c:v>
                </c:pt>
                <c:pt idx="37">
                  <c:v>0.26298562686779564</c:v>
                </c:pt>
                <c:pt idx="38">
                  <c:v>0.22730521801286632</c:v>
                </c:pt>
                <c:pt idx="39">
                  <c:v>0.22156930521949533</c:v>
                </c:pt>
                <c:pt idx="40">
                  <c:v>0.17884883489344752</c:v>
                </c:pt>
                <c:pt idx="41">
                  <c:v>0.21114239146540228</c:v>
                </c:pt>
                <c:pt idx="42">
                  <c:v>0.22216414009409305</c:v>
                </c:pt>
                <c:pt idx="43">
                  <c:v>0.20919747520288548</c:v>
                </c:pt>
                <c:pt idx="44">
                  <c:v>0.23332932836717529</c:v>
                </c:pt>
                <c:pt idx="45">
                  <c:v>0.22971360381861575</c:v>
                </c:pt>
                <c:pt idx="46">
                  <c:v>0.23619768477292966</c:v>
                </c:pt>
                <c:pt idx="47">
                  <c:v>0.22322193658954584</c:v>
                </c:pt>
                <c:pt idx="48">
                  <c:v>0.23070443297883542</c:v>
                </c:pt>
                <c:pt idx="49">
                  <c:v>0.26360794409709454</c:v>
                </c:pt>
                <c:pt idx="50">
                  <c:v>0.2514569018004697</c:v>
                </c:pt>
                <c:pt idx="51">
                  <c:v>0.26895338610378189</c:v>
                </c:pt>
                <c:pt idx="52">
                  <c:v>0.25178359096313913</c:v>
                </c:pt>
                <c:pt idx="53">
                  <c:v>0.27585604472396924</c:v>
                </c:pt>
                <c:pt idx="54">
                  <c:v>0.25097299209812479</c:v>
                </c:pt>
                <c:pt idx="55">
                  <c:v>0.26661920441398951</c:v>
                </c:pt>
                <c:pt idx="56">
                  <c:v>0.24526873580620742</c:v>
                </c:pt>
                <c:pt idx="57">
                  <c:v>0.23314731154220922</c:v>
                </c:pt>
                <c:pt idx="58">
                  <c:v>0.23384062927496579</c:v>
                </c:pt>
                <c:pt idx="59">
                  <c:v>0.24891146589259797</c:v>
                </c:pt>
                <c:pt idx="60">
                  <c:v>0.27490308444294626</c:v>
                </c:pt>
                <c:pt idx="61">
                  <c:v>0.2207808564231738</c:v>
                </c:pt>
                <c:pt idx="62">
                  <c:v>0.2214098237720285</c:v>
                </c:pt>
                <c:pt idx="63">
                  <c:v>0.26803503950532465</c:v>
                </c:pt>
                <c:pt idx="64">
                  <c:v>0.23890292313244316</c:v>
                </c:pt>
                <c:pt idx="65">
                  <c:v>0.2465254480973833</c:v>
                </c:pt>
                <c:pt idx="66">
                  <c:v>0.26061671625642413</c:v>
                </c:pt>
                <c:pt idx="67">
                  <c:v>0.23096330275229357</c:v>
                </c:pt>
                <c:pt idx="68">
                  <c:v>0.18479880774962743</c:v>
                </c:pt>
                <c:pt idx="69">
                  <c:v>0.20003740764986438</c:v>
                </c:pt>
                <c:pt idx="70">
                  <c:v>0.20462873674059787</c:v>
                </c:pt>
                <c:pt idx="71">
                  <c:v>0.20760074260128863</c:v>
                </c:pt>
                <c:pt idx="72">
                  <c:v>0.20553579368608271</c:v>
                </c:pt>
                <c:pt idx="73">
                  <c:v>0.23601025202904741</c:v>
                </c:pt>
                <c:pt idx="74">
                  <c:v>0.21541353383458647</c:v>
                </c:pt>
                <c:pt idx="75">
                  <c:v>0.15740142210730446</c:v>
                </c:pt>
                <c:pt idx="76">
                  <c:v>0.2209147845891061</c:v>
                </c:pt>
                <c:pt idx="77">
                  <c:v>0.17817485641352904</c:v>
                </c:pt>
                <c:pt idx="78">
                  <c:v>0.20859302479777217</c:v>
                </c:pt>
                <c:pt idx="79">
                  <c:v>0.2112580073599564</c:v>
                </c:pt>
                <c:pt idx="80">
                  <c:v>0.20129435393885292</c:v>
                </c:pt>
                <c:pt idx="81">
                  <c:v>0.21202775636083268</c:v>
                </c:pt>
                <c:pt idx="82">
                  <c:v>0.13016204913748039</c:v>
                </c:pt>
                <c:pt idx="83">
                  <c:v>0.19543490005402486</c:v>
                </c:pt>
                <c:pt idx="84">
                  <c:v>0.18082268707005475</c:v>
                </c:pt>
                <c:pt idx="85">
                  <c:v>0.16379310344827586</c:v>
                </c:pt>
                <c:pt idx="86">
                  <c:v>0.17474839890210431</c:v>
                </c:pt>
                <c:pt idx="87">
                  <c:v>0.22015977443609022</c:v>
                </c:pt>
                <c:pt idx="88">
                  <c:v>0.19550669216061187</c:v>
                </c:pt>
                <c:pt idx="89">
                  <c:v>0.1108266970041714</c:v>
                </c:pt>
                <c:pt idx="90">
                  <c:v>0.18895558223289316</c:v>
                </c:pt>
                <c:pt idx="91">
                  <c:v>0.17490967983057182</c:v>
                </c:pt>
                <c:pt idx="92">
                  <c:v>0.19561643835616438</c:v>
                </c:pt>
                <c:pt idx="93">
                  <c:v>0.19769514078650349</c:v>
                </c:pt>
                <c:pt idx="94">
                  <c:v>0.26802374893977948</c:v>
                </c:pt>
                <c:pt idx="95">
                  <c:v>0.16229712858926343</c:v>
                </c:pt>
                <c:pt idx="96">
                  <c:v>0.12777065396592782</c:v>
                </c:pt>
                <c:pt idx="97">
                  <c:v>0.18709677419354839</c:v>
                </c:pt>
                <c:pt idx="98">
                  <c:v>0.19634517766497461</c:v>
                </c:pt>
                <c:pt idx="99">
                  <c:v>0.20233621127475876</c:v>
                </c:pt>
                <c:pt idx="100">
                  <c:v>0.18563407895909456</c:v>
                </c:pt>
                <c:pt idx="101">
                  <c:v>0.20801404853128991</c:v>
                </c:pt>
                <c:pt idx="102">
                  <c:v>0.21614100185528756</c:v>
                </c:pt>
                <c:pt idx="103">
                  <c:v>0.13663133097762073</c:v>
                </c:pt>
                <c:pt idx="104">
                  <c:v>0.19531497309275087</c:v>
                </c:pt>
                <c:pt idx="105">
                  <c:v>0.18179102248114123</c:v>
                </c:pt>
                <c:pt idx="106">
                  <c:v>0.17258883248730963</c:v>
                </c:pt>
                <c:pt idx="107">
                  <c:v>0.17686072218128224</c:v>
                </c:pt>
                <c:pt idx="108">
                  <c:v>0.17523186033824331</c:v>
                </c:pt>
                <c:pt idx="109">
                  <c:v>0.18503794723527286</c:v>
                </c:pt>
                <c:pt idx="110">
                  <c:v>0.14211197403500639</c:v>
                </c:pt>
                <c:pt idx="111">
                  <c:v>0.16703377386196769</c:v>
                </c:pt>
                <c:pt idx="112">
                  <c:v>0.18029359430604983</c:v>
                </c:pt>
                <c:pt idx="113">
                  <c:v>0.23335274703940984</c:v>
                </c:pt>
                <c:pt idx="114">
                  <c:v>0.21517074644907827</c:v>
                </c:pt>
                <c:pt idx="115">
                  <c:v>0.1853035143769968</c:v>
                </c:pt>
                <c:pt idx="116">
                  <c:v>0.19236719958741619</c:v>
                </c:pt>
                <c:pt idx="117">
                  <c:v>0.19859075535512966</c:v>
                </c:pt>
                <c:pt idx="118">
                  <c:v>0.26657894736842103</c:v>
                </c:pt>
                <c:pt idx="119">
                  <c:v>0.26702350733914582</c:v>
                </c:pt>
                <c:pt idx="120">
                  <c:v>0.29832023646456635</c:v>
                </c:pt>
                <c:pt idx="121">
                  <c:v>0.35248547449967721</c:v>
                </c:pt>
                <c:pt idx="122">
                  <c:v>0.20327539146674328</c:v>
                </c:pt>
                <c:pt idx="123">
                  <c:v>0.25674613570867172</c:v>
                </c:pt>
                <c:pt idx="124">
                  <c:v>0.19439562585432532</c:v>
                </c:pt>
                <c:pt idx="125">
                  <c:v>0.24591367328961536</c:v>
                </c:pt>
                <c:pt idx="126">
                  <c:v>0.28577942433741804</c:v>
                </c:pt>
                <c:pt idx="127">
                  <c:v>0.25877734155916993</c:v>
                </c:pt>
                <c:pt idx="128">
                  <c:v>0.22369052059466085</c:v>
                </c:pt>
                <c:pt idx="129">
                  <c:v>0.28056456227350751</c:v>
                </c:pt>
                <c:pt idx="130">
                  <c:v>0.23398371485635275</c:v>
                </c:pt>
                <c:pt idx="131">
                  <c:v>0.15389396184921356</c:v>
                </c:pt>
                <c:pt idx="132">
                  <c:v>0.20399193339883137</c:v>
                </c:pt>
                <c:pt idx="133">
                  <c:v>0.22560939446058953</c:v>
                </c:pt>
                <c:pt idx="134">
                  <c:v>0.17708788806296458</c:v>
                </c:pt>
                <c:pt idx="135">
                  <c:v>0.20711173907924174</c:v>
                </c:pt>
                <c:pt idx="136">
                  <c:v>0.23944913371834739</c:v>
                </c:pt>
                <c:pt idx="137">
                  <c:v>0.22201257861635221</c:v>
                </c:pt>
                <c:pt idx="138">
                  <c:v>0.15912416671183133</c:v>
                </c:pt>
                <c:pt idx="139">
                  <c:v>0.22013315250893847</c:v>
                </c:pt>
                <c:pt idx="140">
                  <c:v>0.20249056103861696</c:v>
                </c:pt>
                <c:pt idx="141">
                  <c:v>0.19513655069210625</c:v>
                </c:pt>
                <c:pt idx="142">
                  <c:v>0.19123530124863619</c:v>
                </c:pt>
                <c:pt idx="143">
                  <c:v>0.22277898158179849</c:v>
                </c:pt>
                <c:pt idx="144">
                  <c:v>0.20499999999999999</c:v>
                </c:pt>
                <c:pt idx="145">
                  <c:v>0.14736197002618531</c:v>
                </c:pt>
                <c:pt idx="146">
                  <c:v>0.22083515386055802</c:v>
                </c:pt>
                <c:pt idx="147">
                  <c:v>0.18339245986410918</c:v>
                </c:pt>
                <c:pt idx="148">
                  <c:v>0.21845893310753597</c:v>
                </c:pt>
                <c:pt idx="149">
                  <c:v>0.18985786980171959</c:v>
                </c:pt>
                <c:pt idx="150">
                  <c:v>0.20325403673117221</c:v>
                </c:pt>
                <c:pt idx="151">
                  <c:v>0.20109135004042036</c:v>
                </c:pt>
                <c:pt idx="152">
                  <c:v>0.14853874809801143</c:v>
                </c:pt>
                <c:pt idx="153">
                  <c:v>0.1985989701832116</c:v>
                </c:pt>
                <c:pt idx="154">
                  <c:v>0.2156587788489629</c:v>
                </c:pt>
                <c:pt idx="155">
                  <c:v>0.19208494208494209</c:v>
                </c:pt>
                <c:pt idx="156">
                  <c:v>0.18758434547908232</c:v>
                </c:pt>
                <c:pt idx="157">
                  <c:v>0.23563811489508085</c:v>
                </c:pt>
                <c:pt idx="158">
                  <c:v>0.17675635276532137</c:v>
                </c:pt>
                <c:pt idx="159">
                  <c:v>0.16404923599320884</c:v>
                </c:pt>
                <c:pt idx="160">
                  <c:v>0.21512477670113139</c:v>
                </c:pt>
                <c:pt idx="161">
                  <c:v>0.20414321360181048</c:v>
                </c:pt>
                <c:pt idx="162">
                  <c:v>0.2041989502624344</c:v>
                </c:pt>
                <c:pt idx="163">
                  <c:v>0.18870531027242085</c:v>
                </c:pt>
                <c:pt idx="164">
                  <c:v>0.21635655560363479</c:v>
                </c:pt>
                <c:pt idx="165">
                  <c:v>0.19836065573770492</c:v>
                </c:pt>
                <c:pt idx="166">
                  <c:v>0.1725104522995059</c:v>
                </c:pt>
                <c:pt idx="167">
                  <c:v>0.23268161969035331</c:v>
                </c:pt>
                <c:pt idx="168">
                  <c:v>0.20122421686127256</c:v>
                </c:pt>
                <c:pt idx="169">
                  <c:v>0.21526717557251909</c:v>
                </c:pt>
                <c:pt idx="170">
                  <c:v>0.1908383125113163</c:v>
                </c:pt>
                <c:pt idx="171">
                  <c:v>0.24558399423215574</c:v>
                </c:pt>
                <c:pt idx="172">
                  <c:v>0.22502955082742318</c:v>
                </c:pt>
                <c:pt idx="173">
                  <c:v>0.17894529712711532</c:v>
                </c:pt>
                <c:pt idx="174">
                  <c:v>0.23977680026067122</c:v>
                </c:pt>
                <c:pt idx="175">
                  <c:v>0.2021267860075546</c:v>
                </c:pt>
                <c:pt idx="176">
                  <c:v>0.22166257512909507</c:v>
                </c:pt>
                <c:pt idx="177">
                  <c:v>0.20397579948141745</c:v>
                </c:pt>
                <c:pt idx="178">
                  <c:v>0.21802237677653463</c:v>
                </c:pt>
                <c:pt idx="179">
                  <c:v>0.2122071516646116</c:v>
                </c:pt>
                <c:pt idx="180">
                  <c:v>0.17154750064463845</c:v>
                </c:pt>
                <c:pt idx="181">
                  <c:v>0.2213267203967762</c:v>
                </c:pt>
                <c:pt idx="182">
                  <c:v>0.209391899778236</c:v>
                </c:pt>
                <c:pt idx="183">
                  <c:v>0.19123459660544059</c:v>
                </c:pt>
                <c:pt idx="184">
                  <c:v>0.16755158037273277</c:v>
                </c:pt>
                <c:pt idx="185">
                  <c:v>0.26216591997528194</c:v>
                </c:pt>
                <c:pt idx="186">
                  <c:v>0.16843971631205673</c:v>
                </c:pt>
                <c:pt idx="187">
                  <c:v>0.12605274482080286</c:v>
                </c:pt>
                <c:pt idx="188">
                  <c:v>0.1747131931166348</c:v>
                </c:pt>
                <c:pt idx="189">
                  <c:v>0.16100916071269752</c:v>
                </c:pt>
                <c:pt idx="190">
                  <c:v>0.1227408021111418</c:v>
                </c:pt>
                <c:pt idx="191">
                  <c:v>0.16504731461847644</c:v>
                </c:pt>
                <c:pt idx="192">
                  <c:v>0.21903233977877226</c:v>
                </c:pt>
                <c:pt idx="193">
                  <c:v>0.15453175997991464</c:v>
                </c:pt>
                <c:pt idx="194">
                  <c:v>0.11796402440634987</c:v>
                </c:pt>
                <c:pt idx="195">
                  <c:v>0.15427408023399192</c:v>
                </c:pt>
                <c:pt idx="196">
                  <c:v>0.1367747025977179</c:v>
                </c:pt>
                <c:pt idx="197">
                  <c:v>0.12986929159270616</c:v>
                </c:pt>
                <c:pt idx="198">
                  <c:v>0.13199738619037246</c:v>
                </c:pt>
                <c:pt idx="199">
                  <c:v>0.20468749999999999</c:v>
                </c:pt>
                <c:pt idx="200">
                  <c:v>0.1247651258925216</c:v>
                </c:pt>
                <c:pt idx="201">
                  <c:v>9.4898547685209458E-2</c:v>
                </c:pt>
                <c:pt idx="202">
                  <c:v>0.12910965751663858</c:v>
                </c:pt>
                <c:pt idx="203">
                  <c:v>0.10648602657241966</c:v>
                </c:pt>
                <c:pt idx="204">
                  <c:v>0.10049698142156699</c:v>
                </c:pt>
                <c:pt idx="205">
                  <c:v>0.11808189488350491</c:v>
                </c:pt>
                <c:pt idx="206">
                  <c:v>0.18374558303886926</c:v>
                </c:pt>
                <c:pt idx="207">
                  <c:v>0.12476627570967194</c:v>
                </c:pt>
                <c:pt idx="208">
                  <c:v>8.1139531158220757E-2</c:v>
                </c:pt>
                <c:pt idx="209">
                  <c:v>0.10667490729295427</c:v>
                </c:pt>
                <c:pt idx="210">
                  <c:v>9.104639327576583E-2</c:v>
                </c:pt>
                <c:pt idx="211">
                  <c:v>7.365609148482756E-2</c:v>
                </c:pt>
                <c:pt idx="212">
                  <c:v>0.14603713316031144</c:v>
                </c:pt>
                <c:pt idx="213">
                  <c:v>0.15551026806709517</c:v>
                </c:pt>
                <c:pt idx="214">
                  <c:v>0.14268502581755593</c:v>
                </c:pt>
                <c:pt idx="215">
                  <c:v>8.9088798607080674E-2</c:v>
                </c:pt>
                <c:pt idx="216">
                  <c:v>5.2037351443123936E-2</c:v>
                </c:pt>
                <c:pt idx="217">
                  <c:v>7.7126642947455082E-2</c:v>
                </c:pt>
                <c:pt idx="218">
                  <c:v>6.6367390913988147E-2</c:v>
                </c:pt>
                <c:pt idx="219">
                  <c:v>8.1122749739264505E-2</c:v>
                </c:pt>
                <c:pt idx="220">
                  <c:v>0.12221433640880057</c:v>
                </c:pt>
                <c:pt idx="221">
                  <c:v>6.5553301076947096E-2</c:v>
                </c:pt>
                <c:pt idx="222">
                  <c:v>4.8117731356446015E-2</c:v>
                </c:pt>
                <c:pt idx="223">
                  <c:v>6.4257151645647492E-2</c:v>
                </c:pt>
                <c:pt idx="224">
                  <c:v>5.2758801891749869E-2</c:v>
                </c:pt>
                <c:pt idx="225">
                  <c:v>4.6619269791898094E-2</c:v>
                </c:pt>
                <c:pt idx="226">
                  <c:v>6.8060741847149608E-2</c:v>
                </c:pt>
                <c:pt idx="227">
                  <c:v>9.8666262503789029E-2</c:v>
                </c:pt>
                <c:pt idx="228">
                  <c:v>5.5322230267921796E-2</c:v>
                </c:pt>
                <c:pt idx="229">
                  <c:v>4.1046762489142921E-2</c:v>
                </c:pt>
                <c:pt idx="230">
                  <c:v>4.7222132131158175E-2</c:v>
                </c:pt>
                <c:pt idx="231">
                  <c:v>4.2896214193176914E-2</c:v>
                </c:pt>
                <c:pt idx="232">
                  <c:v>3.750224941515206E-2</c:v>
                </c:pt>
                <c:pt idx="233">
                  <c:v>5.5225857079797928E-2</c:v>
                </c:pt>
                <c:pt idx="234">
                  <c:v>8.5109447004608291E-2</c:v>
                </c:pt>
                <c:pt idx="235">
                  <c:v>6.2962962962962957E-2</c:v>
                </c:pt>
                <c:pt idx="236">
                  <c:v>3.1330208682066735E-2</c:v>
                </c:pt>
                <c:pt idx="237">
                  <c:v>4.0923433575890268E-2</c:v>
                </c:pt>
                <c:pt idx="238">
                  <c:v>3.5863547061975351E-2</c:v>
                </c:pt>
                <c:pt idx="239">
                  <c:v>3.1560308311922781E-2</c:v>
                </c:pt>
                <c:pt idx="240">
                  <c:v>4.5400803972570347E-2</c:v>
                </c:pt>
                <c:pt idx="241">
                  <c:v>9.5930232558139539E-2</c:v>
                </c:pt>
                <c:pt idx="242">
                  <c:v>3.1996915959907481E-2</c:v>
                </c:pt>
                <c:pt idx="243">
                  <c:v>2.3948349640899879E-2</c:v>
                </c:pt>
                <c:pt idx="244">
                  <c:v>3.1558245083207259E-2</c:v>
                </c:pt>
                <c:pt idx="245">
                  <c:v>2.8242824985931347E-2</c:v>
                </c:pt>
                <c:pt idx="246">
                  <c:v>2.3654768247202983E-2</c:v>
                </c:pt>
                <c:pt idx="247">
                  <c:v>3.6307454615681731E-2</c:v>
                </c:pt>
                <c:pt idx="248">
                  <c:v>5.4596747427812814E-2</c:v>
                </c:pt>
                <c:pt idx="249">
                  <c:v>2.3981468864967978E-2</c:v>
                </c:pt>
                <c:pt idx="250">
                  <c:v>1.7572232011392984E-2</c:v>
                </c:pt>
                <c:pt idx="251">
                  <c:v>1.995635535595686E-2</c:v>
                </c:pt>
                <c:pt idx="252">
                  <c:v>1.8354543825058255E-2</c:v>
                </c:pt>
                <c:pt idx="253">
                  <c:v>1.7411797812093285E-2</c:v>
                </c:pt>
                <c:pt idx="254">
                  <c:v>2.1529146042577732E-2</c:v>
                </c:pt>
                <c:pt idx="255">
                  <c:v>4.0657566417143694E-2</c:v>
                </c:pt>
                <c:pt idx="256">
                  <c:v>1.5269220466113046E-2</c:v>
                </c:pt>
                <c:pt idx="257">
                  <c:v>1.0755362138638484E-2</c:v>
                </c:pt>
                <c:pt idx="258">
                  <c:v>1.3691112330666359E-2</c:v>
                </c:pt>
                <c:pt idx="259">
                  <c:v>1.1700064641241112E-2</c:v>
                </c:pt>
                <c:pt idx="260">
                  <c:v>9.6572013302634943E-3</c:v>
                </c:pt>
                <c:pt idx="261">
                  <c:v>1.1839743344918458E-2</c:v>
                </c:pt>
                <c:pt idx="262">
                  <c:v>2.1937573616018845E-2</c:v>
                </c:pt>
                <c:pt idx="263">
                  <c:v>1.2496745639156469E-2</c:v>
                </c:pt>
                <c:pt idx="264">
                  <c:v>8.2844402722365637E-3</c:v>
                </c:pt>
                <c:pt idx="265">
                  <c:v>1.0212432836351992E-2</c:v>
                </c:pt>
                <c:pt idx="266">
                  <c:v>8.4533628790676683E-3</c:v>
                </c:pt>
                <c:pt idx="267">
                  <c:v>8.9968689310768492E-3</c:v>
                </c:pt>
                <c:pt idx="268">
                  <c:v>8.9516426725729046E-3</c:v>
                </c:pt>
                <c:pt idx="269">
                  <c:v>1.5539161827028724E-2</c:v>
                </c:pt>
                <c:pt idx="270">
                  <c:v>8.9011663597298955E-3</c:v>
                </c:pt>
                <c:pt idx="271">
                  <c:v>6.0205658266290155E-3</c:v>
                </c:pt>
                <c:pt idx="272">
                  <c:v>8.7208117690207431E-3</c:v>
                </c:pt>
                <c:pt idx="273">
                  <c:v>6.7108128527620997E-3</c:v>
                </c:pt>
                <c:pt idx="274">
                  <c:v>6.3672637745139657E-3</c:v>
                </c:pt>
                <c:pt idx="275">
                  <c:v>6.916370366762457E-3</c:v>
                </c:pt>
                <c:pt idx="276">
                  <c:v>1.0194956179574315E-2</c:v>
                </c:pt>
                <c:pt idx="277">
                  <c:v>7.3461891643709825E-3</c:v>
                </c:pt>
                <c:pt idx="278">
                  <c:v>4.3298898776039001E-3</c:v>
                </c:pt>
                <c:pt idx="279">
                  <c:v>7.5883575883575888E-3</c:v>
                </c:pt>
                <c:pt idx="280">
                  <c:v>5.3417038383170882E-3</c:v>
                </c:pt>
                <c:pt idx="281">
                  <c:v>4.0431266846361188E-3</c:v>
                </c:pt>
                <c:pt idx="282">
                  <c:v>3.732398348696488E-3</c:v>
                </c:pt>
                <c:pt idx="283">
                  <c:v>5.2931596091205209E-3</c:v>
                </c:pt>
                <c:pt idx="284">
                  <c:v>3.397508493771234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8F3-4668-ADCC-17284CF8ED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78069204330972E-2"/>
          <c:y val="8.3481760709576552E-2"/>
          <c:w val="0.91740097734358894"/>
          <c:h val="0.7417896241201473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62</c:f>
              <c:numCache>
                <c:formatCode>m/d/yyyy</c:formatCode>
                <c:ptCount val="61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  <c:pt idx="54">
                  <c:v>44352</c:v>
                </c:pt>
                <c:pt idx="55">
                  <c:v>44353</c:v>
                </c:pt>
                <c:pt idx="56">
                  <c:v>44354</c:v>
                </c:pt>
                <c:pt idx="57">
                  <c:v>44355</c:v>
                </c:pt>
                <c:pt idx="58">
                  <c:v>44356</c:v>
                </c:pt>
                <c:pt idx="59">
                  <c:v>44357</c:v>
                </c:pt>
                <c:pt idx="60">
                  <c:v>44358</c:v>
                </c:pt>
              </c:numCache>
            </c:numRef>
          </c:cat>
          <c:val>
            <c:numRef>
              <c:f>List1!$B$2:$B$62</c:f>
              <c:numCache>
                <c:formatCode>General</c:formatCode>
                <c:ptCount val="61"/>
                <c:pt idx="0">
                  <c:v>380074</c:v>
                </c:pt>
                <c:pt idx="1">
                  <c:v>400266</c:v>
                </c:pt>
                <c:pt idx="2">
                  <c:v>418771</c:v>
                </c:pt>
                <c:pt idx="3">
                  <c:v>785857</c:v>
                </c:pt>
                <c:pt idx="4">
                  <c:v>799538</c:v>
                </c:pt>
                <c:pt idx="5">
                  <c:v>799695</c:v>
                </c:pt>
                <c:pt idx="6">
                  <c:v>800741</c:v>
                </c:pt>
                <c:pt idx="7">
                  <c:v>1209018</c:v>
                </c:pt>
                <c:pt idx="8">
                  <c:v>1234433</c:v>
                </c:pt>
                <c:pt idx="9">
                  <c:v>1260580</c:v>
                </c:pt>
                <c:pt idx="10">
                  <c:v>1644355</c:v>
                </c:pt>
                <c:pt idx="11">
                  <c:v>1662523</c:v>
                </c:pt>
                <c:pt idx="12">
                  <c:v>1662664</c:v>
                </c:pt>
                <c:pt idx="13">
                  <c:v>1665873</c:v>
                </c:pt>
                <c:pt idx="14">
                  <c:v>2103054</c:v>
                </c:pt>
                <c:pt idx="15">
                  <c:v>2149719</c:v>
                </c:pt>
                <c:pt idx="16">
                  <c:v>2197815</c:v>
                </c:pt>
                <c:pt idx="17">
                  <c:v>2620675</c:v>
                </c:pt>
                <c:pt idx="18">
                  <c:v>2659902</c:v>
                </c:pt>
                <c:pt idx="19">
                  <c:v>2660067</c:v>
                </c:pt>
                <c:pt idx="20">
                  <c:v>2663394</c:v>
                </c:pt>
                <c:pt idx="21">
                  <c:v>3135780</c:v>
                </c:pt>
                <c:pt idx="22">
                  <c:v>3168741</c:v>
                </c:pt>
                <c:pt idx="23">
                  <c:v>3199547</c:v>
                </c:pt>
                <c:pt idx="24">
                  <c:v>3304407</c:v>
                </c:pt>
                <c:pt idx="25">
                  <c:v>3326012</c:v>
                </c:pt>
                <c:pt idx="26">
                  <c:v>3326603</c:v>
                </c:pt>
                <c:pt idx="27">
                  <c:v>3330124</c:v>
                </c:pt>
                <c:pt idx="28">
                  <c:v>3843569</c:v>
                </c:pt>
                <c:pt idx="29">
                  <c:v>3879037</c:v>
                </c:pt>
                <c:pt idx="30">
                  <c:v>3905239</c:v>
                </c:pt>
                <c:pt idx="31">
                  <c:v>4088742</c:v>
                </c:pt>
                <c:pt idx="32">
                  <c:v>4102496</c:v>
                </c:pt>
                <c:pt idx="33">
                  <c:v>4102522</c:v>
                </c:pt>
                <c:pt idx="34">
                  <c:v>4698722</c:v>
                </c:pt>
                <c:pt idx="35">
                  <c:v>4871992</c:v>
                </c:pt>
                <c:pt idx="36">
                  <c:v>4915558</c:v>
                </c:pt>
                <c:pt idx="37">
                  <c:v>4955576</c:v>
                </c:pt>
                <c:pt idx="38">
                  <c:v>5070066</c:v>
                </c:pt>
                <c:pt idx="39">
                  <c:v>5090195</c:v>
                </c:pt>
                <c:pt idx="40">
                  <c:v>5106691</c:v>
                </c:pt>
                <c:pt idx="41">
                  <c:v>5114175</c:v>
                </c:pt>
                <c:pt idx="42">
                  <c:v>5956713</c:v>
                </c:pt>
                <c:pt idx="43">
                  <c:v>6046619</c:v>
                </c:pt>
                <c:pt idx="44">
                  <c:v>6107443</c:v>
                </c:pt>
                <c:pt idx="45">
                  <c:v>6141760</c:v>
                </c:pt>
                <c:pt idx="46">
                  <c:v>6153577</c:v>
                </c:pt>
                <c:pt idx="47">
                  <c:v>6167571</c:v>
                </c:pt>
                <c:pt idx="48">
                  <c:v>6173874</c:v>
                </c:pt>
                <c:pt idx="49">
                  <c:v>6982664</c:v>
                </c:pt>
                <c:pt idx="50">
                  <c:v>7082158</c:v>
                </c:pt>
                <c:pt idx="51">
                  <c:v>7127051</c:v>
                </c:pt>
                <c:pt idx="52">
                  <c:v>7158582</c:v>
                </c:pt>
                <c:pt idx="53">
                  <c:v>7170808</c:v>
                </c:pt>
                <c:pt idx="54">
                  <c:v>7171955</c:v>
                </c:pt>
                <c:pt idx="55">
                  <c:v>7178393</c:v>
                </c:pt>
                <c:pt idx="56">
                  <c:v>7966889</c:v>
                </c:pt>
                <c:pt idx="57">
                  <c:v>8063416</c:v>
                </c:pt>
                <c:pt idx="58">
                  <c:v>8114169</c:v>
                </c:pt>
                <c:pt idx="59">
                  <c:v>8154117</c:v>
                </c:pt>
                <c:pt idx="60">
                  <c:v>8167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78A-4B66-9E45-FC701E9D0FDA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8A-4B66-9E45-FC701E9D0F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8A-4B66-9E45-FC701E9D0F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8A-4B66-9E45-FC701E9D0F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8A-4B66-9E45-FC701E9D0F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8A-4B66-9E45-FC701E9D0F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8A-4B66-9E45-FC701E9D0FD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8A-4B66-9E45-FC701E9D0F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8A-4B66-9E45-FC701E9D0F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62</c:f>
              <c:numCache>
                <c:formatCode>m/d/yyyy</c:formatCode>
                <c:ptCount val="61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  <c:pt idx="54">
                  <c:v>44352</c:v>
                </c:pt>
                <c:pt idx="55">
                  <c:v>44353</c:v>
                </c:pt>
                <c:pt idx="56">
                  <c:v>44354</c:v>
                </c:pt>
                <c:pt idx="57">
                  <c:v>44355</c:v>
                </c:pt>
                <c:pt idx="58">
                  <c:v>44356</c:v>
                </c:pt>
                <c:pt idx="59">
                  <c:v>44357</c:v>
                </c:pt>
                <c:pt idx="60">
                  <c:v>44358</c:v>
                </c:pt>
              </c:numCache>
            </c:numRef>
          </c:cat>
          <c:val>
            <c:numRef>
              <c:f>List1!$C$2:$C$62</c:f>
              <c:numCache>
                <c:formatCode>General</c:formatCode>
                <c:ptCount val="61"/>
                <c:pt idx="0">
                  <c:v>147838</c:v>
                </c:pt>
                <c:pt idx="1">
                  <c:v>160889</c:v>
                </c:pt>
                <c:pt idx="2">
                  <c:v>171139</c:v>
                </c:pt>
                <c:pt idx="3">
                  <c:v>280026</c:v>
                </c:pt>
                <c:pt idx="4">
                  <c:v>287848</c:v>
                </c:pt>
                <c:pt idx="5">
                  <c:v>287925</c:v>
                </c:pt>
                <c:pt idx="6">
                  <c:v>288226</c:v>
                </c:pt>
                <c:pt idx="7">
                  <c:v>432044</c:v>
                </c:pt>
                <c:pt idx="8">
                  <c:v>443327</c:v>
                </c:pt>
                <c:pt idx="9">
                  <c:v>453390</c:v>
                </c:pt>
                <c:pt idx="10">
                  <c:v>560060</c:v>
                </c:pt>
                <c:pt idx="11">
                  <c:v>567250</c:v>
                </c:pt>
                <c:pt idx="12">
                  <c:v>567349</c:v>
                </c:pt>
                <c:pt idx="13">
                  <c:v>567718</c:v>
                </c:pt>
                <c:pt idx="14">
                  <c:v>700427</c:v>
                </c:pt>
                <c:pt idx="15">
                  <c:v>711391</c:v>
                </c:pt>
                <c:pt idx="16">
                  <c:v>721090</c:v>
                </c:pt>
                <c:pt idx="17">
                  <c:v>815397</c:v>
                </c:pt>
                <c:pt idx="18">
                  <c:v>822639</c:v>
                </c:pt>
                <c:pt idx="19">
                  <c:v>822702</c:v>
                </c:pt>
                <c:pt idx="20">
                  <c:v>823016</c:v>
                </c:pt>
                <c:pt idx="21">
                  <c:v>951222</c:v>
                </c:pt>
                <c:pt idx="22">
                  <c:v>960945</c:v>
                </c:pt>
                <c:pt idx="23">
                  <c:v>966691</c:v>
                </c:pt>
                <c:pt idx="24">
                  <c:v>974278</c:v>
                </c:pt>
                <c:pt idx="25">
                  <c:v>977769</c:v>
                </c:pt>
                <c:pt idx="26">
                  <c:v>977826</c:v>
                </c:pt>
                <c:pt idx="27">
                  <c:v>978152</c:v>
                </c:pt>
                <c:pt idx="28">
                  <c:v>1101070</c:v>
                </c:pt>
                <c:pt idx="29">
                  <c:v>1110134</c:v>
                </c:pt>
                <c:pt idx="30">
                  <c:v>1114207</c:v>
                </c:pt>
                <c:pt idx="31">
                  <c:v>1119856</c:v>
                </c:pt>
                <c:pt idx="32">
                  <c:v>1121574</c:v>
                </c:pt>
                <c:pt idx="33">
                  <c:v>1121586</c:v>
                </c:pt>
                <c:pt idx="34">
                  <c:v>1218244</c:v>
                </c:pt>
                <c:pt idx="35">
                  <c:v>1249114</c:v>
                </c:pt>
                <c:pt idx="36">
                  <c:v>1257503</c:v>
                </c:pt>
                <c:pt idx="37">
                  <c:v>1263983</c:v>
                </c:pt>
                <c:pt idx="38">
                  <c:v>1269116</c:v>
                </c:pt>
                <c:pt idx="39">
                  <c:v>1271209</c:v>
                </c:pt>
                <c:pt idx="40">
                  <c:v>1273090</c:v>
                </c:pt>
                <c:pt idx="41">
                  <c:v>1273293</c:v>
                </c:pt>
                <c:pt idx="42">
                  <c:v>1363578</c:v>
                </c:pt>
                <c:pt idx="43">
                  <c:v>1374784</c:v>
                </c:pt>
                <c:pt idx="44">
                  <c:v>1380014</c:v>
                </c:pt>
                <c:pt idx="45">
                  <c:v>1384073</c:v>
                </c:pt>
                <c:pt idx="46">
                  <c:v>1385471</c:v>
                </c:pt>
                <c:pt idx="47">
                  <c:v>1386899</c:v>
                </c:pt>
                <c:pt idx="48">
                  <c:v>1387006</c:v>
                </c:pt>
                <c:pt idx="49">
                  <c:v>1447522</c:v>
                </c:pt>
                <c:pt idx="50">
                  <c:v>1456357</c:v>
                </c:pt>
                <c:pt idx="51">
                  <c:v>1459827</c:v>
                </c:pt>
                <c:pt idx="52">
                  <c:v>1462418</c:v>
                </c:pt>
                <c:pt idx="53">
                  <c:v>1463401</c:v>
                </c:pt>
                <c:pt idx="54">
                  <c:v>1463427</c:v>
                </c:pt>
                <c:pt idx="55">
                  <c:v>1463539</c:v>
                </c:pt>
                <c:pt idx="56">
                  <c:v>1515639</c:v>
                </c:pt>
                <c:pt idx="57">
                  <c:v>1522828</c:v>
                </c:pt>
                <c:pt idx="58">
                  <c:v>1526399</c:v>
                </c:pt>
                <c:pt idx="59">
                  <c:v>1529825</c:v>
                </c:pt>
                <c:pt idx="60">
                  <c:v>15307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578A-4B66-9E45-FC701E9D0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1"/>
      </c:date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320.66311510377898</c:v>
                </c:pt>
                <c:pt idx="1">
                  <c:v>266.19093117466002</c:v>
                </c:pt>
                <c:pt idx="2">
                  <c:v>341.99364667472798</c:v>
                </c:pt>
                <c:pt idx="3">
                  <c:v>443.88659913761097</c:v>
                </c:pt>
                <c:pt idx="4">
                  <c:v>443.53402836784397</c:v>
                </c:pt>
                <c:pt idx="5">
                  <c:v>377.25072365150402</c:v>
                </c:pt>
                <c:pt idx="6">
                  <c:v>330.18252588750801</c:v>
                </c:pt>
                <c:pt idx="7">
                  <c:v>272.53720503047902</c:v>
                </c:pt>
                <c:pt idx="8">
                  <c:v>200.78905338274001</c:v>
                </c:pt>
                <c:pt idx="9">
                  <c:v>147.02201099315599</c:v>
                </c:pt>
                <c:pt idx="10">
                  <c:v>137.15002943965899</c:v>
                </c:pt>
                <c:pt idx="11">
                  <c:v>108.062940933818</c:v>
                </c:pt>
                <c:pt idx="12">
                  <c:v>91.315829369849993</c:v>
                </c:pt>
                <c:pt idx="13">
                  <c:v>74.921288575649001</c:v>
                </c:pt>
                <c:pt idx="14">
                  <c:v>60.113316245402999</c:v>
                </c:pt>
                <c:pt idx="15">
                  <c:v>38.253928519802002</c:v>
                </c:pt>
                <c:pt idx="16">
                  <c:v>23.445956189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613.99549661620995</c:v>
                </c:pt>
                <c:pt idx="1">
                  <c:v>496.847506323115</c:v>
                </c:pt>
                <c:pt idx="2">
                  <c:v>660.50462403246604</c:v>
                </c:pt>
                <c:pt idx="3">
                  <c:v>783.903841128821</c:v>
                </c:pt>
                <c:pt idx="4">
                  <c:v>707.63887412904705</c:v>
                </c:pt>
                <c:pt idx="5">
                  <c:v>555.60903827376103</c:v>
                </c:pt>
                <c:pt idx="6">
                  <c:v>444.21217663966502</c:v>
                </c:pt>
                <c:pt idx="7">
                  <c:v>356.56997685795801</c:v>
                </c:pt>
                <c:pt idx="8">
                  <c:v>255.050053573013</c:v>
                </c:pt>
                <c:pt idx="9">
                  <c:v>191.162515643695</c:v>
                </c:pt>
                <c:pt idx="10">
                  <c:v>198.91403687973701</c:v>
                </c:pt>
                <c:pt idx="11">
                  <c:v>174.90932595521801</c:v>
                </c:pt>
                <c:pt idx="12">
                  <c:v>142.527971114331</c:v>
                </c:pt>
                <c:pt idx="13">
                  <c:v>117.27301482916</c:v>
                </c:pt>
                <c:pt idx="14">
                  <c:v>75.264770711251998</c:v>
                </c:pt>
                <c:pt idx="15">
                  <c:v>63.512464321122998</c:v>
                </c:pt>
                <c:pt idx="16">
                  <c:v>43.883612158886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510.50545258727999</c:v>
                </c:pt>
                <c:pt idx="1">
                  <c:v>417.86958863034101</c:v>
                </c:pt>
                <c:pt idx="2">
                  <c:v>537.54895704590001</c:v>
                </c:pt>
                <c:pt idx="3">
                  <c:v>687.71157390823703</c:v>
                </c:pt>
                <c:pt idx="4">
                  <c:v>722.82068495977796</c:v>
                </c:pt>
                <c:pt idx="5">
                  <c:v>694.70967374621296</c:v>
                </c:pt>
                <c:pt idx="6">
                  <c:v>601.00630303432797</c:v>
                </c:pt>
                <c:pt idx="7">
                  <c:v>451.19952175697301</c:v>
                </c:pt>
                <c:pt idx="8">
                  <c:v>339.82298365765701</c:v>
                </c:pt>
                <c:pt idx="9">
                  <c:v>251.69437044382099</c:v>
                </c:pt>
                <c:pt idx="10">
                  <c:v>229.158116728305</c:v>
                </c:pt>
                <c:pt idx="11">
                  <c:v>170.08940962131899</c:v>
                </c:pt>
                <c:pt idx="12">
                  <c:v>143.16451702436001</c:v>
                </c:pt>
                <c:pt idx="13">
                  <c:v>114.93489394913399</c:v>
                </c:pt>
                <c:pt idx="14">
                  <c:v>77.690769387700996</c:v>
                </c:pt>
                <c:pt idx="15">
                  <c:v>59.898990138609001</c:v>
                </c:pt>
                <c:pt idx="16">
                  <c:v>46.851685355942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499.23287172918498</c:v>
                </c:pt>
                <c:pt idx="1">
                  <c:v>407.521340915785</c:v>
                </c:pt>
                <c:pt idx="2">
                  <c:v>531.85448678417299</c:v>
                </c:pt>
                <c:pt idx="3">
                  <c:v>659.94296420535602</c:v>
                </c:pt>
                <c:pt idx="4">
                  <c:v>645.64555732966005</c:v>
                </c:pt>
                <c:pt idx="5">
                  <c:v>562.89252829280304</c:v>
                </c:pt>
                <c:pt idx="6">
                  <c:v>474.755349198327</c:v>
                </c:pt>
                <c:pt idx="7">
                  <c:v>371.09914934953503</c:v>
                </c:pt>
                <c:pt idx="8">
                  <c:v>273.46052897690703</c:v>
                </c:pt>
                <c:pt idx="9">
                  <c:v>202.923638726245</c:v>
                </c:pt>
                <c:pt idx="10">
                  <c:v>194.598566368246</c:v>
                </c:pt>
                <c:pt idx="11">
                  <c:v>155.914126878627</c:v>
                </c:pt>
                <c:pt idx="12">
                  <c:v>129.62680600907299</c:v>
                </c:pt>
                <c:pt idx="13">
                  <c:v>105.511243145954</c:v>
                </c:pt>
                <c:pt idx="14">
                  <c:v>72.301443630888997</c:v>
                </c:pt>
                <c:pt idx="15">
                  <c:v>55.651298914889999</c:v>
                </c:pt>
                <c:pt idx="16">
                  <c:v>39.770318492835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593.04169765451104</c:v>
                </c:pt>
                <c:pt idx="1">
                  <c:v>499.60861640080799</c:v>
                </c:pt>
                <c:pt idx="2">
                  <c:v>619.40180588700298</c:v>
                </c:pt>
                <c:pt idx="3">
                  <c:v>773.89016795995599</c:v>
                </c:pt>
                <c:pt idx="4">
                  <c:v>796.81159493418704</c:v>
                </c:pt>
                <c:pt idx="5">
                  <c:v>719.92716723587102</c:v>
                </c:pt>
                <c:pt idx="6">
                  <c:v>606.56281662381798</c:v>
                </c:pt>
                <c:pt idx="7">
                  <c:v>461.66164740678101</c:v>
                </c:pt>
                <c:pt idx="8">
                  <c:v>345.690253123383</c:v>
                </c:pt>
                <c:pt idx="9">
                  <c:v>255.49962403440099</c:v>
                </c:pt>
                <c:pt idx="10">
                  <c:v>200.83580511909301</c:v>
                </c:pt>
                <c:pt idx="11">
                  <c:v>163.225228856852</c:v>
                </c:pt>
                <c:pt idx="12">
                  <c:v>134.35151937851001</c:v>
                </c:pt>
                <c:pt idx="13">
                  <c:v>101.151425599692</c:v>
                </c:pt>
                <c:pt idx="14">
                  <c:v>71.249849440890998</c:v>
                </c:pt>
                <c:pt idx="15">
                  <c:v>46.562360624782002</c:v>
                </c:pt>
                <c:pt idx="16">
                  <c:v>29.761412520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636549528083226"/>
          <c:y val="0.20299240246086112"/>
          <c:w val="0.72027953981972681"/>
          <c:h val="0.7505336593398659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dokončen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19.545249999999999</c:v>
                </c:pt>
                <c:pt idx="1">
                  <c:v>24.077500000000001</c:v>
                </c:pt>
                <c:pt idx="2">
                  <c:v>23.55987</c:v>
                </c:pt>
                <c:pt idx="3">
                  <c:v>68.598699999999994</c:v>
                </c:pt>
                <c:pt idx="4">
                  <c:v>61.965200000000003</c:v>
                </c:pt>
                <c:pt idx="5">
                  <c:v>44.410020000000003</c:v>
                </c:pt>
                <c:pt idx="6">
                  <c:v>29.907990000000002</c:v>
                </c:pt>
                <c:pt idx="7">
                  <c:v>20.28689</c:v>
                </c:pt>
                <c:pt idx="8">
                  <c:v>15.624750000000001</c:v>
                </c:pt>
                <c:pt idx="9">
                  <c:v>13.7232</c:v>
                </c:pt>
                <c:pt idx="10">
                  <c:v>11.46016</c:v>
                </c:pt>
                <c:pt idx="11">
                  <c:v>8.9096119999999992</c:v>
                </c:pt>
                <c:pt idx="12">
                  <c:v>6.739312</c:v>
                </c:pt>
                <c:pt idx="13">
                  <c:v>4.8917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6C-43B5-BDA2-1A9D944183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čkovaní 1. dávko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22.70327</c:v>
                </c:pt>
                <c:pt idx="1">
                  <c:v>27.871269999999999</c:v>
                </c:pt>
                <c:pt idx="2">
                  <c:v>27.36655</c:v>
                </c:pt>
                <c:pt idx="3">
                  <c:v>10.22823</c:v>
                </c:pt>
                <c:pt idx="4">
                  <c:v>18.622789999999998</c:v>
                </c:pt>
                <c:pt idx="5">
                  <c:v>29.167269999999998</c:v>
                </c:pt>
                <c:pt idx="6">
                  <c:v>36.686149999999998</c:v>
                </c:pt>
                <c:pt idx="7">
                  <c:v>42.097070000000002</c:v>
                </c:pt>
                <c:pt idx="8">
                  <c:v>43.297690000000003</c:v>
                </c:pt>
                <c:pt idx="9">
                  <c:v>42.24971</c:v>
                </c:pt>
                <c:pt idx="10">
                  <c:v>36.338900000000002</c:v>
                </c:pt>
                <c:pt idx="11">
                  <c:v>27.000309999999999</c:v>
                </c:pt>
                <c:pt idx="12">
                  <c:v>21.137630000000001</c:v>
                </c:pt>
                <c:pt idx="13">
                  <c:v>8.811168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6C-43B5-BDA2-1A9D9441837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9.0287249999999997</c:v>
                </c:pt>
                <c:pt idx="1">
                  <c:v>8.6557119999999994</c:v>
                </c:pt>
                <c:pt idx="2">
                  <c:v>8.7196549999999995</c:v>
                </c:pt>
                <c:pt idx="3">
                  <c:v>4.7387189999999997</c:v>
                </c:pt>
                <c:pt idx="4">
                  <c:v>3.3339500000000002</c:v>
                </c:pt>
                <c:pt idx="5">
                  <c:v>4.5892580000000001</c:v>
                </c:pt>
                <c:pt idx="6">
                  <c:v>6.5885379999999998</c:v>
                </c:pt>
                <c:pt idx="7">
                  <c:v>8.6922700000000006</c:v>
                </c:pt>
                <c:pt idx="8">
                  <c:v>9.5892970000000002</c:v>
                </c:pt>
                <c:pt idx="9">
                  <c:v>10.09057</c:v>
                </c:pt>
                <c:pt idx="10">
                  <c:v>9.7568509999999993</c:v>
                </c:pt>
                <c:pt idx="11">
                  <c:v>10.54904</c:v>
                </c:pt>
                <c:pt idx="12">
                  <c:v>11.44101</c:v>
                </c:pt>
                <c:pt idx="13">
                  <c:v>12.37552</c:v>
                </c:pt>
                <c:pt idx="14">
                  <c:v>10.5334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6C-43B5-BDA2-1A9D9441837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3.6382462000000002</c:v>
                </c:pt>
                <c:pt idx="1">
                  <c:v>4.3462592999999998</c:v>
                </c:pt>
                <c:pt idx="2">
                  <c:v>4.3855478000000003</c:v>
                </c:pt>
                <c:pt idx="3">
                  <c:v>1.7967671000000001</c:v>
                </c:pt>
                <c:pt idx="4">
                  <c:v>1.4120098999999999</c:v>
                </c:pt>
                <c:pt idx="5">
                  <c:v>1.4659036000000001</c:v>
                </c:pt>
                <c:pt idx="6">
                  <c:v>1.7727611000000001</c:v>
                </c:pt>
                <c:pt idx="7">
                  <c:v>2.1714623999999998</c:v>
                </c:pt>
                <c:pt idx="8">
                  <c:v>2.5050536999999999</c:v>
                </c:pt>
                <c:pt idx="9">
                  <c:v>3.0128509000000001</c:v>
                </c:pt>
                <c:pt idx="10">
                  <c:v>4.1433035</c:v>
                </c:pt>
                <c:pt idx="11">
                  <c:v>6.1054545999999998</c:v>
                </c:pt>
                <c:pt idx="12">
                  <c:v>7.3109937</c:v>
                </c:pt>
                <c:pt idx="13">
                  <c:v>10.212241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6C-43B5-BDA2-1A9D9441837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4.2158419</c:v>
                </c:pt>
                <c:pt idx="1">
                  <c:v>4.8105944999999997</c:v>
                </c:pt>
                <c:pt idx="2">
                  <c:v>5.0817825000000001</c:v>
                </c:pt>
                <c:pt idx="3">
                  <c:v>7.3410260000000003</c:v>
                </c:pt>
                <c:pt idx="4">
                  <c:v>5.6775086000000003</c:v>
                </c:pt>
                <c:pt idx="5">
                  <c:v>4.0614618</c:v>
                </c:pt>
                <c:pt idx="6">
                  <c:v>3.5533562999999999</c:v>
                </c:pt>
                <c:pt idx="7">
                  <c:v>3.4452536</c:v>
                </c:pt>
                <c:pt idx="8">
                  <c:v>3.0747391999999998</c:v>
                </c:pt>
                <c:pt idx="9">
                  <c:v>2.7114638000000002</c:v>
                </c:pt>
                <c:pt idx="10">
                  <c:v>2.9019803999999998</c:v>
                </c:pt>
                <c:pt idx="11">
                  <c:v>3.7847632</c:v>
                </c:pt>
                <c:pt idx="12">
                  <c:v>5.2309609999999997</c:v>
                </c:pt>
                <c:pt idx="13">
                  <c:v>10.06656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B6C-43B5-BDA2-1A9D9441837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80 a více let</c:v>
                </c:pt>
                <c:pt idx="4">
                  <c:v>70–79 let</c:v>
                </c:pt>
                <c:pt idx="5">
                  <c:v>65–69 let</c:v>
                </c:pt>
                <c:pt idx="6">
                  <c:v>60–64 let</c:v>
                </c:pt>
                <c:pt idx="7">
                  <c:v>55–59 let</c:v>
                </c:pt>
                <c:pt idx="8">
                  <c:v>50–54 let</c:v>
                </c:pt>
                <c:pt idx="9">
                  <c:v>45–49 let</c:v>
                </c:pt>
                <c:pt idx="10">
                  <c:v>40–44 let</c:v>
                </c:pt>
                <c:pt idx="11">
                  <c:v>35–39 let</c:v>
                </c:pt>
                <c:pt idx="12">
                  <c:v>30–34 let</c:v>
                </c:pt>
                <c:pt idx="13">
                  <c:v>16–29 let</c:v>
                </c:pt>
                <c:pt idx="14">
                  <c:v>do 16 let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40.868670700000003</c:v>
                </c:pt>
                <c:pt idx="1">
                  <c:v>30.238664</c:v>
                </c:pt>
                <c:pt idx="2">
                  <c:v>30.886586699999999</c:v>
                </c:pt>
                <c:pt idx="3">
                  <c:v>7.2965593100000001</c:v>
                </c:pt>
                <c:pt idx="4">
                  <c:v>8.9885378899999999</c:v>
                </c:pt>
                <c:pt idx="5">
                  <c:v>16.306077500000001</c:v>
                </c:pt>
                <c:pt idx="6">
                  <c:v>21.491210500000001</c:v>
                </c:pt>
                <c:pt idx="7">
                  <c:v>23.307049200000002</c:v>
                </c:pt>
                <c:pt idx="8">
                  <c:v>25.908465400000001</c:v>
                </c:pt>
                <c:pt idx="9">
                  <c:v>28.212208199999999</c:v>
                </c:pt>
                <c:pt idx="10">
                  <c:v>35.3988096</c:v>
                </c:pt>
                <c:pt idx="11">
                  <c:v>43.650821000000001</c:v>
                </c:pt>
                <c:pt idx="12">
                  <c:v>48.140085800000001</c:v>
                </c:pt>
                <c:pt idx="13">
                  <c:v>53.642809900000003</c:v>
                </c:pt>
                <c:pt idx="14">
                  <c:v>89.4665640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13B-470D-A795-D51EE48759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530918869456E-3"/>
          <c:y val="7.839625914535274E-2"/>
          <c:w val="0.98994552187469609"/>
          <c:h val="4.6791895752454092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Jihomoravský kraj</c:v>
                </c:pt>
                <c:pt idx="1">
                  <c:v>Středočeský kraj</c:v>
                </c:pt>
                <c:pt idx="2">
                  <c:v>Moravskoslezský kraj</c:v>
                </c:pt>
                <c:pt idx="3">
                  <c:v>Hlavní město Praha</c:v>
                </c:pt>
                <c:pt idx="4">
                  <c:v>Ústecký kraj</c:v>
                </c:pt>
                <c:pt idx="5">
                  <c:v>Zlínský kraj</c:v>
                </c:pt>
                <c:pt idx="6">
                  <c:v>Liberecký kraj</c:v>
                </c:pt>
                <c:pt idx="7">
                  <c:v>Jihočeský kraj</c:v>
                </c:pt>
                <c:pt idx="8">
                  <c:v>Olomoucký kraj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334</c:v>
                </c:pt>
                <c:pt idx="1">
                  <c:v>331</c:v>
                </c:pt>
                <c:pt idx="2">
                  <c:v>318</c:v>
                </c:pt>
                <c:pt idx="3">
                  <c:v>294</c:v>
                </c:pt>
                <c:pt idx="4">
                  <c:v>262</c:v>
                </c:pt>
                <c:pt idx="5">
                  <c:v>257</c:v>
                </c:pt>
                <c:pt idx="6">
                  <c:v>218</c:v>
                </c:pt>
                <c:pt idx="7">
                  <c:v>217</c:v>
                </c:pt>
                <c:pt idx="8">
                  <c:v>214</c:v>
                </c:pt>
                <c:pt idx="9">
                  <c:v>136</c:v>
                </c:pt>
                <c:pt idx="10">
                  <c:v>132</c:v>
                </c:pt>
                <c:pt idx="11">
                  <c:v>121</c:v>
                </c:pt>
                <c:pt idx="12">
                  <c:v>114</c:v>
                </c:pt>
                <c:pt idx="13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Jihomoravský kraj</c:v>
                </c:pt>
                <c:pt idx="1">
                  <c:v>Moravskoslezs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Liberecký kraj</c:v>
                </c:pt>
                <c:pt idx="5">
                  <c:v>Zlínský kraj</c:v>
                </c:pt>
                <c:pt idx="6">
                  <c:v>Ústecký kraj</c:v>
                </c:pt>
                <c:pt idx="7">
                  <c:v>Jihočeský kraj</c:v>
                </c:pt>
                <c:pt idx="8">
                  <c:v>Hlavní město Praha</c:v>
                </c:pt>
                <c:pt idx="9">
                  <c:v>Olomouc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7</c:v>
                </c:pt>
                <c:pt idx="1">
                  <c:v>57</c:v>
                </c:pt>
                <c:pt idx="2">
                  <c:v>56</c:v>
                </c:pt>
                <c:pt idx="3">
                  <c:v>52</c:v>
                </c:pt>
                <c:pt idx="4">
                  <c:v>50</c:v>
                </c:pt>
                <c:pt idx="5">
                  <c:v>48</c:v>
                </c:pt>
                <c:pt idx="6">
                  <c:v>47</c:v>
                </c:pt>
                <c:pt idx="7">
                  <c:v>42</c:v>
                </c:pt>
                <c:pt idx="8">
                  <c:v>41</c:v>
                </c:pt>
                <c:pt idx="9">
                  <c:v>39</c:v>
                </c:pt>
                <c:pt idx="10">
                  <c:v>23</c:v>
                </c:pt>
                <c:pt idx="11">
                  <c:v>16</c:v>
                </c:pt>
                <c:pt idx="12">
                  <c:v>14</c:v>
                </c:pt>
                <c:pt idx="1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9.584382871536</c:v>
                </c:pt>
                <c:pt idx="1">
                  <c:v>21.372930866600999</c:v>
                </c:pt>
                <c:pt idx="2">
                  <c:v>18.861364624076</c:v>
                </c:pt>
                <c:pt idx="3">
                  <c:v>24.172185430462999</c:v>
                </c:pt>
                <c:pt idx="4">
                  <c:v>23.964968152866</c:v>
                </c:pt>
                <c:pt idx="5">
                  <c:v>21.000981354267999</c:v>
                </c:pt>
                <c:pt idx="6">
                  <c:v>20.129032258064001</c:v>
                </c:pt>
                <c:pt idx="7">
                  <c:v>20.605187319883999</c:v>
                </c:pt>
                <c:pt idx="8">
                  <c:v>17.169069462646998</c:v>
                </c:pt>
                <c:pt idx="9">
                  <c:v>15.739268680445001</c:v>
                </c:pt>
                <c:pt idx="10">
                  <c:v>10.990712074303</c:v>
                </c:pt>
                <c:pt idx="11">
                  <c:v>10.39156626506</c:v>
                </c:pt>
                <c:pt idx="12">
                  <c:v>7.6258992805750001</c:v>
                </c:pt>
                <c:pt idx="13">
                  <c:v>2.9689608636970002</c:v>
                </c:pt>
                <c:pt idx="14">
                  <c:v>1.997146932952</c:v>
                </c:pt>
                <c:pt idx="15">
                  <c:v>2.7496382054990001</c:v>
                </c:pt>
                <c:pt idx="16">
                  <c:v>0.695652173913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0.703318474492001</c:v>
                </c:pt>
                <c:pt idx="1">
                  <c:v>20</c:v>
                </c:pt>
                <c:pt idx="2">
                  <c:v>20.846755637367</c:v>
                </c:pt>
                <c:pt idx="3">
                  <c:v>27.964300892476999</c:v>
                </c:pt>
                <c:pt idx="4">
                  <c:v>26.455026455026001</c:v>
                </c:pt>
                <c:pt idx="5">
                  <c:v>25.306957708049001</c:v>
                </c:pt>
                <c:pt idx="6">
                  <c:v>20.678513731824999</c:v>
                </c:pt>
                <c:pt idx="7">
                  <c:v>21.443736730360001</c:v>
                </c:pt>
                <c:pt idx="8">
                  <c:v>18.131487889273</c:v>
                </c:pt>
                <c:pt idx="9">
                  <c:v>13.093622795114999</c:v>
                </c:pt>
                <c:pt idx="10">
                  <c:v>8.7494056110309995</c:v>
                </c:pt>
                <c:pt idx="11">
                  <c:v>9.3890675241149992</c:v>
                </c:pt>
                <c:pt idx="12">
                  <c:v>4.7114875595549996</c:v>
                </c:pt>
                <c:pt idx="13">
                  <c:v>2.1338724168910002</c:v>
                </c:pt>
                <c:pt idx="14">
                  <c:v>0.80176072944499999</c:v>
                </c:pt>
                <c:pt idx="15">
                  <c:v>0.64092543379699995</c:v>
                </c:pt>
                <c:pt idx="16">
                  <c:v>0.191204588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6.137052759248</c:v>
                </c:pt>
                <c:pt idx="1">
                  <c:v>33.266875534035002</c:v>
                </c:pt>
                <c:pt idx="2">
                  <c:v>30.026047833292999</c:v>
                </c:pt>
                <c:pt idx="3">
                  <c:v>33.315565031981997</c:v>
                </c:pt>
                <c:pt idx="4">
                  <c:v>27.762557077625001</c:v>
                </c:pt>
                <c:pt idx="5">
                  <c:v>25.295169946331999</c:v>
                </c:pt>
                <c:pt idx="6">
                  <c:v>20.033599328013</c:v>
                </c:pt>
                <c:pt idx="7">
                  <c:v>18.987341772151002</c:v>
                </c:pt>
                <c:pt idx="8">
                  <c:v>16.256366723258999</c:v>
                </c:pt>
                <c:pt idx="9">
                  <c:v>13.353115727002001</c:v>
                </c:pt>
                <c:pt idx="10">
                  <c:v>11.533303531514999</c:v>
                </c:pt>
                <c:pt idx="11">
                  <c:v>6.4913025031820002</c:v>
                </c:pt>
                <c:pt idx="12">
                  <c:v>4.294117647058</c:v>
                </c:pt>
                <c:pt idx="13">
                  <c:v>1.786837800427</c:v>
                </c:pt>
                <c:pt idx="14">
                  <c:v>0.89588588327300001</c:v>
                </c:pt>
                <c:pt idx="15">
                  <c:v>0.95659452349600005</c:v>
                </c:pt>
                <c:pt idx="16">
                  <c:v>0.54566045506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4.478969306555001</c:v>
                </c:pt>
                <c:pt idx="1">
                  <c:v>25.999081304547001</c:v>
                </c:pt>
                <c:pt idx="2">
                  <c:v>27.619507484307</c:v>
                </c:pt>
                <c:pt idx="3">
                  <c:v>36.196888785696999</c:v>
                </c:pt>
                <c:pt idx="4">
                  <c:v>37.894144144144001</c:v>
                </c:pt>
                <c:pt idx="5">
                  <c:v>38.471760797342</c:v>
                </c:pt>
                <c:pt idx="6">
                  <c:v>34.859011033919003</c:v>
                </c:pt>
                <c:pt idx="7">
                  <c:v>33.333333333333002</c:v>
                </c:pt>
                <c:pt idx="8">
                  <c:v>28.808290155440002</c:v>
                </c:pt>
                <c:pt idx="9">
                  <c:v>25.678119349005001</c:v>
                </c:pt>
                <c:pt idx="10">
                  <c:v>24.663677130044</c:v>
                </c:pt>
                <c:pt idx="11">
                  <c:v>24.760501105378999</c:v>
                </c:pt>
                <c:pt idx="12">
                  <c:v>18.683001531393</c:v>
                </c:pt>
                <c:pt idx="13">
                  <c:v>13.267326732673</c:v>
                </c:pt>
                <c:pt idx="14">
                  <c:v>10.743801652892</c:v>
                </c:pt>
                <c:pt idx="15">
                  <c:v>6.9254984260230001</c:v>
                </c:pt>
                <c:pt idx="16">
                  <c:v>4.736129905277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9.625472454472</c:v>
                </c:pt>
                <c:pt idx="1">
                  <c:v>20.664684442738999</c:v>
                </c:pt>
                <c:pt idx="2">
                  <c:v>21.912372254838001</c:v>
                </c:pt>
                <c:pt idx="3">
                  <c:v>28.271812080536002</c:v>
                </c:pt>
                <c:pt idx="4">
                  <c:v>30.540120026672</c:v>
                </c:pt>
                <c:pt idx="5">
                  <c:v>27.999473198998999</c:v>
                </c:pt>
                <c:pt idx="6">
                  <c:v>26.803781721678</c:v>
                </c:pt>
                <c:pt idx="7">
                  <c:v>24.461964628169</c:v>
                </c:pt>
                <c:pt idx="8">
                  <c:v>18.287614297588998</c:v>
                </c:pt>
                <c:pt idx="9">
                  <c:v>12.118537200504001</c:v>
                </c:pt>
                <c:pt idx="10">
                  <c:v>8.8167053364260006</c:v>
                </c:pt>
                <c:pt idx="11">
                  <c:v>9.0540540540539993</c:v>
                </c:pt>
                <c:pt idx="12">
                  <c:v>6.357743759481</c:v>
                </c:pt>
                <c:pt idx="13">
                  <c:v>2.7370828271269998</c:v>
                </c:pt>
                <c:pt idx="14">
                  <c:v>2.5597749648380002</c:v>
                </c:pt>
                <c:pt idx="15">
                  <c:v>1.4285714285710001</c:v>
                </c:pt>
                <c:pt idx="16">
                  <c:v>0.895674300253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3.02 - 19.02</c:v>
                </c:pt>
                <c:pt idx="1">
                  <c:v>20.02 - 26.02</c:v>
                </c:pt>
                <c:pt idx="2">
                  <c:v>27.02 - 05.03</c:v>
                </c:pt>
                <c:pt idx="3">
                  <c:v>06.03 - 12.03</c:v>
                </c:pt>
                <c:pt idx="4">
                  <c:v>13.03 - 19.03</c:v>
                </c:pt>
                <c:pt idx="5">
                  <c:v>20.03 - 26.03</c:v>
                </c:pt>
                <c:pt idx="6">
                  <c:v>27.03 - 02.04</c:v>
                </c:pt>
                <c:pt idx="7">
                  <c:v>03.04 - 09.04</c:v>
                </c:pt>
                <c:pt idx="8">
                  <c:v>10.04 - 16.04</c:v>
                </c:pt>
                <c:pt idx="9">
                  <c:v>17.04 - 23.04</c:v>
                </c:pt>
                <c:pt idx="10">
                  <c:v>24.04 - 30.04</c:v>
                </c:pt>
                <c:pt idx="11">
                  <c:v>01.05 - 07.05</c:v>
                </c:pt>
                <c:pt idx="12">
                  <c:v>08.05 - 14.05</c:v>
                </c:pt>
                <c:pt idx="13">
                  <c:v>15.05 - 21.05</c:v>
                </c:pt>
                <c:pt idx="14">
                  <c:v>22.05 - 28.05</c:v>
                </c:pt>
                <c:pt idx="15">
                  <c:v>29.05 - 04.06</c:v>
                </c:pt>
                <c:pt idx="16">
                  <c:v>05.06 - 11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9.397063417681</c:v>
                </c:pt>
                <c:pt idx="1">
                  <c:v>31.301845268325</c:v>
                </c:pt>
                <c:pt idx="2">
                  <c:v>29.166021971220001</c:v>
                </c:pt>
                <c:pt idx="3">
                  <c:v>29.684290604792</c:v>
                </c:pt>
                <c:pt idx="4">
                  <c:v>27.447172156619001</c:v>
                </c:pt>
                <c:pt idx="5">
                  <c:v>23.966794608586</c:v>
                </c:pt>
                <c:pt idx="6">
                  <c:v>22.401847575057001</c:v>
                </c:pt>
                <c:pt idx="7">
                  <c:v>18.66766094954</c:v>
                </c:pt>
                <c:pt idx="8">
                  <c:v>16.455223880597</c:v>
                </c:pt>
                <c:pt idx="9">
                  <c:v>12.196712757630999</c:v>
                </c:pt>
                <c:pt idx="10">
                  <c:v>9.5004193123270007</c:v>
                </c:pt>
                <c:pt idx="11">
                  <c:v>6.9937262161879996</c:v>
                </c:pt>
                <c:pt idx="12">
                  <c:v>3.8974906567000001</c:v>
                </c:pt>
                <c:pt idx="13">
                  <c:v>1.918875833972</c:v>
                </c:pt>
                <c:pt idx="14">
                  <c:v>1.637673280782</c:v>
                </c:pt>
                <c:pt idx="15">
                  <c:v>1.330077748506</c:v>
                </c:pt>
                <c:pt idx="16">
                  <c:v>1.140132669982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Moravskoslezský kraj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Ústecký kraj</c:v>
                </c:pt>
                <c:pt idx="11">
                  <c:v>Pardubic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68.89752016731398</c:v>
                </c:pt>
                <c:pt idx="1">
                  <c:v>295.92105428145101</c:v>
                </c:pt>
                <c:pt idx="2">
                  <c:v>304.94002846106901</c:v>
                </c:pt>
                <c:pt idx="3">
                  <c:v>292.08821910849503</c:v>
                </c:pt>
                <c:pt idx="4">
                  <c:v>179.850723899163</c:v>
                </c:pt>
                <c:pt idx="5">
                  <c:v>282.024640047498</c:v>
                </c:pt>
                <c:pt idx="6">
                  <c:v>248.38610730138799</c:v>
                </c:pt>
                <c:pt idx="7">
                  <c:v>226.62134239818701</c:v>
                </c:pt>
                <c:pt idx="8">
                  <c:v>222.204156843617</c:v>
                </c:pt>
                <c:pt idx="9">
                  <c:v>193.983231957915</c:v>
                </c:pt>
                <c:pt idx="10">
                  <c:v>369.58171182416697</c:v>
                </c:pt>
                <c:pt idx="11">
                  <c:v>364.357864357864</c:v>
                </c:pt>
                <c:pt idx="12">
                  <c:v>172.00602021070699</c:v>
                </c:pt>
                <c:pt idx="13">
                  <c:v>72.950102130142</c:v>
                </c:pt>
                <c:pt idx="14">
                  <c:v>177.007354960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Moravskoslezský kraj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Ústecký kraj</c:v>
                </c:pt>
                <c:pt idx="11">
                  <c:v>Pardubic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24.08126680609499</c:v>
                </c:pt>
                <c:pt idx="1">
                  <c:v>125.390277237902</c:v>
                </c:pt>
                <c:pt idx="2">
                  <c:v>159.246459307447</c:v>
                </c:pt>
                <c:pt idx="3">
                  <c:v>139.69436566058499</c:v>
                </c:pt>
                <c:pt idx="4">
                  <c:v>152.87311531428901</c:v>
                </c:pt>
                <c:pt idx="5">
                  <c:v>255.30651625352499</c:v>
                </c:pt>
                <c:pt idx="6">
                  <c:v>158.127990240841</c:v>
                </c:pt>
                <c:pt idx="7">
                  <c:v>173.29867359861299</c:v>
                </c:pt>
                <c:pt idx="8">
                  <c:v>157.16879386499701</c:v>
                </c:pt>
                <c:pt idx="9">
                  <c:v>69.044879171461005</c:v>
                </c:pt>
                <c:pt idx="10">
                  <c:v>244.75610054580599</c:v>
                </c:pt>
                <c:pt idx="11">
                  <c:v>151.51515151515099</c:v>
                </c:pt>
                <c:pt idx="12">
                  <c:v>50.168422561455998</c:v>
                </c:pt>
                <c:pt idx="13">
                  <c:v>124.01517362124299</c:v>
                </c:pt>
                <c:pt idx="14">
                  <c:v>167.85180211798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Moravskoslezský kraj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Ústecký kraj</c:v>
                </c:pt>
                <c:pt idx="11">
                  <c:v>Pardubic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34.44876008365699</c:v>
                </c:pt>
                <c:pt idx="1">
                  <c:v>82.757582977015005</c:v>
                </c:pt>
                <c:pt idx="2">
                  <c:v>155.85823676899</c:v>
                </c:pt>
                <c:pt idx="3">
                  <c:v>42.331625957752998</c:v>
                </c:pt>
                <c:pt idx="4">
                  <c:v>91.424117982073994</c:v>
                </c:pt>
                <c:pt idx="5">
                  <c:v>145.46534065607801</c:v>
                </c:pt>
                <c:pt idx="6">
                  <c:v>94.841537067527</c:v>
                </c:pt>
                <c:pt idx="7">
                  <c:v>111.644337799106</c:v>
                </c:pt>
                <c:pt idx="8">
                  <c:v>75.874590141721995</c:v>
                </c:pt>
                <c:pt idx="9">
                  <c:v>55.893473614991997</c:v>
                </c:pt>
                <c:pt idx="10">
                  <c:v>163.98658736569001</c:v>
                </c:pt>
                <c:pt idx="11">
                  <c:v>72.150072150072006</c:v>
                </c:pt>
                <c:pt idx="12">
                  <c:v>50.168422561455998</c:v>
                </c:pt>
                <c:pt idx="13">
                  <c:v>14.590020426028</c:v>
                </c:pt>
                <c:pt idx="14">
                  <c:v>82.399975585191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F2-4B90-B8EF-7C911D5510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Moravskoslezský kraj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Ústecký kraj</c:v>
                </c:pt>
                <c:pt idx="11">
                  <c:v>Pardubic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8.673438900507001</c:v>
                </c:pt>
                <c:pt idx="1">
                  <c:v>13.792930496168999</c:v>
                </c:pt>
                <c:pt idx="2">
                  <c:v>13.552890153825</c:v>
                </c:pt>
                <c:pt idx="3">
                  <c:v>12.699487787324999</c:v>
                </c:pt>
                <c:pt idx="4">
                  <c:v>8.9925361949579994</c:v>
                </c:pt>
                <c:pt idx="5">
                  <c:v>8.9060412646570004</c:v>
                </c:pt>
                <c:pt idx="6">
                  <c:v>8.4616984744260009</c:v>
                </c:pt>
                <c:pt idx="7">
                  <c:v>8.3316669999330006</c:v>
                </c:pt>
                <c:pt idx="8">
                  <c:v>6.7745169769390001</c:v>
                </c:pt>
                <c:pt idx="9">
                  <c:v>6.5757027782339996</c:v>
                </c:pt>
                <c:pt idx="10">
                  <c:v>4.8951220109160003</c:v>
                </c:pt>
                <c:pt idx="11">
                  <c:v>3.6075036075029998</c:v>
                </c:pt>
                <c:pt idx="12">
                  <c:v>3.583458754389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Jihomorav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Moravskoslezský kraj</c:v>
                </c:pt>
                <c:pt idx="8">
                  <c:v>Hlavní město Praha</c:v>
                </c:pt>
                <c:pt idx="9">
                  <c:v>Plzeňský kraj</c:v>
                </c:pt>
                <c:pt idx="10">
                  <c:v>Ústecký kraj</c:v>
                </c:pt>
                <c:pt idx="11">
                  <c:v>Pardubic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8.673438900507001</c:v>
                </c:pt>
                <c:pt idx="1">
                  <c:v>13.792930496168999</c:v>
                </c:pt>
                <c:pt idx="2">
                  <c:v>13.552890153825</c:v>
                </c:pt>
                <c:pt idx="3">
                  <c:v>12.699487787324999</c:v>
                </c:pt>
                <c:pt idx="4">
                  <c:v>8.9925361949579994</c:v>
                </c:pt>
                <c:pt idx="5">
                  <c:v>8.9060412646570004</c:v>
                </c:pt>
                <c:pt idx="6">
                  <c:v>8.4616984744260009</c:v>
                </c:pt>
                <c:pt idx="7">
                  <c:v>8.3316669999330006</c:v>
                </c:pt>
                <c:pt idx="8">
                  <c:v>6.7745169769390001</c:v>
                </c:pt>
                <c:pt idx="9">
                  <c:v>6.5757027782339996</c:v>
                </c:pt>
                <c:pt idx="10">
                  <c:v>4.8951220109160003</c:v>
                </c:pt>
                <c:pt idx="11">
                  <c:v>3.6075036075029998</c:v>
                </c:pt>
                <c:pt idx="12">
                  <c:v>3.583458754389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42818623398409"/>
          <c:y val="0.1703220066242872"/>
          <c:w val="0.73221684886657512"/>
          <c:h val="0.813696424623908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dokončen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Liberec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Středočeský kraj</c:v>
                </c:pt>
                <c:pt idx="7">
                  <c:v>Zlínský kraj</c:v>
                </c:pt>
                <c:pt idx="8">
                  <c:v>Karlovar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Ústec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21.284197800000001</c:v>
                </c:pt>
                <c:pt idx="1">
                  <c:v>20.5376108</c:v>
                </c:pt>
                <c:pt idx="2">
                  <c:v>20.736481300000001</c:v>
                </c:pt>
                <c:pt idx="3">
                  <c:v>18.801245699999999</c:v>
                </c:pt>
                <c:pt idx="4">
                  <c:v>19.545249399999999</c:v>
                </c:pt>
                <c:pt idx="5">
                  <c:v>19.878824000000002</c:v>
                </c:pt>
                <c:pt idx="6">
                  <c:v>19.201614899999999</c:v>
                </c:pt>
                <c:pt idx="7">
                  <c:v>18.895261099999999</c:v>
                </c:pt>
                <c:pt idx="8">
                  <c:v>19.732297800000001</c:v>
                </c:pt>
                <c:pt idx="9">
                  <c:v>18.279898500000002</c:v>
                </c:pt>
                <c:pt idx="10">
                  <c:v>19.045205599999999</c:v>
                </c:pt>
                <c:pt idx="11">
                  <c:v>19.8779933</c:v>
                </c:pt>
                <c:pt idx="12">
                  <c:v>19.373861699999999</c:v>
                </c:pt>
                <c:pt idx="13">
                  <c:v>19.185988999999999</c:v>
                </c:pt>
                <c:pt idx="14">
                  <c:v>19.0918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6C-43B5-BDA2-1A9D944183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čkovaní 1. dávko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Liberec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Středočeský kraj</c:v>
                </c:pt>
                <c:pt idx="7">
                  <c:v>Zlínský kraj</c:v>
                </c:pt>
                <c:pt idx="8">
                  <c:v>Karlovar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Ústec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21.744253</c:v>
                </c:pt>
                <c:pt idx="1">
                  <c:v>23.836649999999999</c:v>
                </c:pt>
                <c:pt idx="2">
                  <c:v>23.947828000000001</c:v>
                </c:pt>
                <c:pt idx="3">
                  <c:v>21.640270000000001</c:v>
                </c:pt>
                <c:pt idx="4">
                  <c:v>22.703267</c:v>
                </c:pt>
                <c:pt idx="5">
                  <c:v>21.298352999999999</c:v>
                </c:pt>
                <c:pt idx="6">
                  <c:v>22.459776000000002</c:v>
                </c:pt>
                <c:pt idx="7">
                  <c:v>23.071128999999999</c:v>
                </c:pt>
                <c:pt idx="8">
                  <c:v>21.734608999999999</c:v>
                </c:pt>
                <c:pt idx="9">
                  <c:v>24.143574000000001</c:v>
                </c:pt>
                <c:pt idx="10">
                  <c:v>20.455728000000001</c:v>
                </c:pt>
                <c:pt idx="11">
                  <c:v>21.310911999999998</c:v>
                </c:pt>
                <c:pt idx="12">
                  <c:v>22.627616</c:v>
                </c:pt>
                <c:pt idx="13">
                  <c:v>21.378917999999999</c:v>
                </c:pt>
                <c:pt idx="14">
                  <c:v>20.796102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6C-43B5-BDA2-1A9D9441837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Liberec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Středočeský kraj</c:v>
                </c:pt>
                <c:pt idx="7">
                  <c:v>Zlínský kraj</c:v>
                </c:pt>
                <c:pt idx="8">
                  <c:v>Karlovar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Ústec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10.673144000000001</c:v>
                </c:pt>
                <c:pt idx="1">
                  <c:v>8.8640992999999995</c:v>
                </c:pt>
                <c:pt idx="2">
                  <c:v>8.4702427999999994</c:v>
                </c:pt>
                <c:pt idx="3">
                  <c:v>10.841718</c:v>
                </c:pt>
                <c:pt idx="4">
                  <c:v>9.0287249000000003</c:v>
                </c:pt>
                <c:pt idx="5">
                  <c:v>10.023669999999999</c:v>
                </c:pt>
                <c:pt idx="6">
                  <c:v>9.5117515000000008</c:v>
                </c:pt>
                <c:pt idx="7">
                  <c:v>9.2038013000000003</c:v>
                </c:pt>
                <c:pt idx="8">
                  <c:v>9.1643340999999996</c:v>
                </c:pt>
                <c:pt idx="9">
                  <c:v>7.8788301000000001</c:v>
                </c:pt>
                <c:pt idx="10">
                  <c:v>10.771417</c:v>
                </c:pt>
                <c:pt idx="11">
                  <c:v>8.5856373000000001</c:v>
                </c:pt>
                <c:pt idx="12">
                  <c:v>7.4601343</c:v>
                </c:pt>
                <c:pt idx="13">
                  <c:v>8.2957058999999997</c:v>
                </c:pt>
                <c:pt idx="14">
                  <c:v>8.82649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6C-43B5-BDA2-1A9D9441837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Liberec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Středočeský kraj</c:v>
                </c:pt>
                <c:pt idx="7">
                  <c:v>Zlínský kraj</c:v>
                </c:pt>
                <c:pt idx="8">
                  <c:v>Karlovar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Ústec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2.4364430000000001</c:v>
                </c:pt>
                <c:pt idx="1">
                  <c:v>2.428401</c:v>
                </c:pt>
                <c:pt idx="2">
                  <c:v>3.5770719999999998</c:v>
                </c:pt>
                <c:pt idx="3">
                  <c:v>3.4815450000000001</c:v>
                </c:pt>
                <c:pt idx="4">
                  <c:v>3.6382460000000001</c:v>
                </c:pt>
                <c:pt idx="5">
                  <c:v>2.581547</c:v>
                </c:pt>
                <c:pt idx="6">
                  <c:v>4.3372770000000003</c:v>
                </c:pt>
                <c:pt idx="7">
                  <c:v>2.853208</c:v>
                </c:pt>
                <c:pt idx="8">
                  <c:v>3.884614</c:v>
                </c:pt>
                <c:pt idx="9">
                  <c:v>5.2397450000000001</c:v>
                </c:pt>
                <c:pt idx="10">
                  <c:v>3.189597</c:v>
                </c:pt>
                <c:pt idx="11">
                  <c:v>2.281507</c:v>
                </c:pt>
                <c:pt idx="12">
                  <c:v>2.796306</c:v>
                </c:pt>
                <c:pt idx="13">
                  <c:v>2.5189590000000002</c:v>
                </c:pt>
                <c:pt idx="14">
                  <c:v>2.450667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6C-43B5-BDA2-1A9D9441837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Liberec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Středočeský kraj</c:v>
                </c:pt>
                <c:pt idx="7">
                  <c:v>Zlínský kraj</c:v>
                </c:pt>
                <c:pt idx="8">
                  <c:v>Karlovar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Ústec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4.6837072400000004</c:v>
                </c:pt>
                <c:pt idx="1">
                  <c:v>2.9209806199999999</c:v>
                </c:pt>
                <c:pt idx="2">
                  <c:v>3.77280624</c:v>
                </c:pt>
                <c:pt idx="3">
                  <c:v>3.4135184700000001</c:v>
                </c:pt>
                <c:pt idx="4">
                  <c:v>4.21584191</c:v>
                </c:pt>
                <c:pt idx="5">
                  <c:v>4.4215206699999996</c:v>
                </c:pt>
                <c:pt idx="6">
                  <c:v>4.6276207999999999</c:v>
                </c:pt>
                <c:pt idx="7">
                  <c:v>1.98890228</c:v>
                </c:pt>
                <c:pt idx="8">
                  <c:v>1.6163730599999999</c:v>
                </c:pt>
                <c:pt idx="9">
                  <c:v>3.42367971</c:v>
                </c:pt>
                <c:pt idx="10">
                  <c:v>4.7185075799999998</c:v>
                </c:pt>
                <c:pt idx="11">
                  <c:v>4.3462455499999999</c:v>
                </c:pt>
                <c:pt idx="12">
                  <c:v>3.4332028000000001</c:v>
                </c:pt>
                <c:pt idx="13">
                  <c:v>3.5940457800000001</c:v>
                </c:pt>
                <c:pt idx="14">
                  <c:v>3.21971318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B6C-43B5-BDA2-1A9D9441837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Liberecký kraj</c:v>
                </c:pt>
                <c:pt idx="4">
                  <c:v>ČR</c:v>
                </c:pt>
                <c:pt idx="5">
                  <c:v>Plzeňský kraj</c:v>
                </c:pt>
                <c:pt idx="6">
                  <c:v>Středočeský kraj</c:v>
                </c:pt>
                <c:pt idx="7">
                  <c:v>Zlínský kraj</c:v>
                </c:pt>
                <c:pt idx="8">
                  <c:v>Karlovar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Ústec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39.178254299999999</c:v>
                </c:pt>
                <c:pt idx="1">
                  <c:v>41.4122579</c:v>
                </c:pt>
                <c:pt idx="2">
                  <c:v>39.495570399999998</c:v>
                </c:pt>
                <c:pt idx="3">
                  <c:v>41.821703300000003</c:v>
                </c:pt>
                <c:pt idx="4">
                  <c:v>40.868670700000003</c:v>
                </c:pt>
                <c:pt idx="5">
                  <c:v>41.7960852</c:v>
                </c:pt>
                <c:pt idx="6">
                  <c:v>39.861959599999999</c:v>
                </c:pt>
                <c:pt idx="7">
                  <c:v>43.9876991</c:v>
                </c:pt>
                <c:pt idx="8">
                  <c:v>43.8677718</c:v>
                </c:pt>
                <c:pt idx="9">
                  <c:v>41.034272000000001</c:v>
                </c:pt>
                <c:pt idx="10">
                  <c:v>41.819544999999998</c:v>
                </c:pt>
                <c:pt idx="11">
                  <c:v>43.5977058</c:v>
                </c:pt>
                <c:pt idx="12">
                  <c:v>44.308879500000003</c:v>
                </c:pt>
                <c:pt idx="13">
                  <c:v>45.026382499999997</c:v>
                </c:pt>
                <c:pt idx="14">
                  <c:v>45.6152203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41-44AB-AAC3-C217D5B40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4.6240622812244838E-3"/>
          <c:y val="6.0972048032513305E-2"/>
          <c:w val="0.98797442151689274"/>
          <c:h val="4.6756224139152217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ardubický kraj</c:v>
                </c:pt>
                <c:pt idx="4">
                  <c:v>Liberecký kraj</c:v>
                </c:pt>
                <c:pt idx="5">
                  <c:v>Moravskoslez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Ústec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Kraj Vysočin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29.96798818025098</c:v>
                </c:pt>
                <c:pt idx="1">
                  <c:v>441.974996843035</c:v>
                </c:pt>
                <c:pt idx="2">
                  <c:v>310.565798394681</c:v>
                </c:pt>
                <c:pt idx="3">
                  <c:v>396.13701680345901</c:v>
                </c:pt>
                <c:pt idx="4">
                  <c:v>384.28567205651899</c:v>
                </c:pt>
                <c:pt idx="5">
                  <c:v>286.07906184981999</c:v>
                </c:pt>
                <c:pt idx="6">
                  <c:v>255.01751990441801</c:v>
                </c:pt>
                <c:pt idx="7">
                  <c:v>328.81452985148297</c:v>
                </c:pt>
                <c:pt idx="8">
                  <c:v>463.73403873158901</c:v>
                </c:pt>
                <c:pt idx="9">
                  <c:v>318.62802520909901</c:v>
                </c:pt>
                <c:pt idx="10">
                  <c:v>349.11043974488001</c:v>
                </c:pt>
                <c:pt idx="11">
                  <c:v>288.02295217922398</c:v>
                </c:pt>
                <c:pt idx="12">
                  <c:v>96.581031485416005</c:v>
                </c:pt>
                <c:pt idx="13">
                  <c:v>443.92075192502602</c:v>
                </c:pt>
                <c:pt idx="14">
                  <c:v>225.92629782106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ardubický kraj</c:v>
                </c:pt>
                <c:pt idx="4">
                  <c:v>Liberecký kraj</c:v>
                </c:pt>
                <c:pt idx="5">
                  <c:v>Moravskoslez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Ústec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Kraj Vysočin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12.73085446934198</c:v>
                </c:pt>
                <c:pt idx="1">
                  <c:v>345.16142610598899</c:v>
                </c:pt>
                <c:pt idx="2">
                  <c:v>251.514555037945</c:v>
                </c:pt>
                <c:pt idx="3">
                  <c:v>346.94353105662401</c:v>
                </c:pt>
                <c:pt idx="4">
                  <c:v>224.65931597150299</c:v>
                </c:pt>
                <c:pt idx="5">
                  <c:v>235.24683185171099</c:v>
                </c:pt>
                <c:pt idx="6">
                  <c:v>159.63695143622999</c:v>
                </c:pt>
                <c:pt idx="7">
                  <c:v>225.79431213375599</c:v>
                </c:pt>
                <c:pt idx="8">
                  <c:v>262.89147970347102</c:v>
                </c:pt>
                <c:pt idx="9">
                  <c:v>156.971159478012</c:v>
                </c:pt>
                <c:pt idx="10">
                  <c:v>192.178583417254</c:v>
                </c:pt>
                <c:pt idx="11">
                  <c:v>209.57312084636101</c:v>
                </c:pt>
                <c:pt idx="12">
                  <c:v>96.581031485416005</c:v>
                </c:pt>
                <c:pt idx="13">
                  <c:v>350.75219905187203</c:v>
                </c:pt>
                <c:pt idx="14">
                  <c:v>100.411687920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ardubický kraj</c:v>
                </c:pt>
                <c:pt idx="4">
                  <c:v>Liberecký kraj</c:v>
                </c:pt>
                <c:pt idx="5">
                  <c:v>Moravskoslez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Ústec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Kraj Vysočin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16.695395222851</c:v>
                </c:pt>
                <c:pt idx="1">
                  <c:v>212.56892705307899</c:v>
                </c:pt>
                <c:pt idx="2">
                  <c:v>131.224985237189</c:v>
                </c:pt>
                <c:pt idx="3">
                  <c:v>150.169588069285</c:v>
                </c:pt>
                <c:pt idx="4">
                  <c:v>94.593396198527003</c:v>
                </c:pt>
                <c:pt idx="5">
                  <c:v>189.14318138831001</c:v>
                </c:pt>
                <c:pt idx="6">
                  <c:v>117.468700113452</c:v>
                </c:pt>
                <c:pt idx="7">
                  <c:v>146.903829876613</c:v>
                </c:pt>
                <c:pt idx="8">
                  <c:v>191.04536102674601</c:v>
                </c:pt>
                <c:pt idx="9">
                  <c:v>74.971300049199002</c:v>
                </c:pt>
                <c:pt idx="10">
                  <c:v>125.88116817724</c:v>
                </c:pt>
                <c:pt idx="11">
                  <c:v>187.15888332268599</c:v>
                </c:pt>
                <c:pt idx="12">
                  <c:v>24.145257871354001</c:v>
                </c:pt>
                <c:pt idx="13">
                  <c:v>189.07735730140001</c:v>
                </c:pt>
                <c:pt idx="14">
                  <c:v>47.695551762225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ardubický kraj</c:v>
                </c:pt>
                <c:pt idx="4">
                  <c:v>Liberecký kraj</c:v>
                </c:pt>
                <c:pt idx="5">
                  <c:v>Moravskoslez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Ústec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Kraj Vysočin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6.936715094804001</c:v>
                </c:pt>
                <c:pt idx="1">
                  <c:v>31.569642631644999</c:v>
                </c:pt>
                <c:pt idx="2">
                  <c:v>26.244997047437</c:v>
                </c:pt>
                <c:pt idx="3">
                  <c:v>18.123915801464999</c:v>
                </c:pt>
                <c:pt idx="4">
                  <c:v>17.736261787223</c:v>
                </c:pt>
                <c:pt idx="5">
                  <c:v>17.732173255153999</c:v>
                </c:pt>
                <c:pt idx="6">
                  <c:v>17.068101725885999</c:v>
                </c:pt>
                <c:pt idx="7">
                  <c:v>16.128165152411</c:v>
                </c:pt>
                <c:pt idx="8">
                  <c:v>14.695797002057001</c:v>
                </c:pt>
                <c:pt idx="9">
                  <c:v>14.057118759224</c:v>
                </c:pt>
                <c:pt idx="10">
                  <c:v>11.748909029875</c:v>
                </c:pt>
                <c:pt idx="11">
                  <c:v>10.086406885653</c:v>
                </c:pt>
                <c:pt idx="12">
                  <c:v>9.6581031485410005</c:v>
                </c:pt>
                <c:pt idx="13">
                  <c:v>5.4805031101850004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Olomoucký kraj</c:v>
                </c:pt>
                <c:pt idx="3">
                  <c:v>Pardubický kraj</c:v>
                </c:pt>
                <c:pt idx="4">
                  <c:v>Liberecký kraj</c:v>
                </c:pt>
                <c:pt idx="5">
                  <c:v>Moravskoslez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Ústecký kraj</c:v>
                </c:pt>
                <c:pt idx="9">
                  <c:v>Plzeň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Kraj Vysočin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6.936715094804001</c:v>
                </c:pt>
                <c:pt idx="1">
                  <c:v>31.569642631644999</c:v>
                </c:pt>
                <c:pt idx="2">
                  <c:v>26.244997047437</c:v>
                </c:pt>
                <c:pt idx="3">
                  <c:v>18.123915801464999</c:v>
                </c:pt>
                <c:pt idx="4">
                  <c:v>17.736261787223</c:v>
                </c:pt>
                <c:pt idx="5">
                  <c:v>17.732173255153999</c:v>
                </c:pt>
                <c:pt idx="6">
                  <c:v>17.068101725885999</c:v>
                </c:pt>
                <c:pt idx="7">
                  <c:v>16.128165152411</c:v>
                </c:pt>
                <c:pt idx="8">
                  <c:v>14.695797002057001</c:v>
                </c:pt>
                <c:pt idx="9">
                  <c:v>14.057118759224</c:v>
                </c:pt>
                <c:pt idx="10">
                  <c:v>11.748909029875</c:v>
                </c:pt>
                <c:pt idx="11">
                  <c:v>10.086406885653</c:v>
                </c:pt>
                <c:pt idx="12">
                  <c:v>9.6581031485410005</c:v>
                </c:pt>
                <c:pt idx="13">
                  <c:v>5.4805031101850004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Moravskoslez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Olomoucký kraj</c:v>
                </c:pt>
                <c:pt idx="8">
                  <c:v>Ústecký kraj</c:v>
                </c:pt>
                <c:pt idx="9">
                  <c:v>Středočeský kraj</c:v>
                </c:pt>
                <c:pt idx="10">
                  <c:v>Zlín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522.61917929432502</c:v>
                </c:pt>
                <c:pt idx="1">
                  <c:v>339.82285363500802</c:v>
                </c:pt>
                <c:pt idx="2">
                  <c:v>537.46689515500805</c:v>
                </c:pt>
                <c:pt idx="3">
                  <c:v>341.18585705887199</c:v>
                </c:pt>
                <c:pt idx="4">
                  <c:v>346.21274329212798</c:v>
                </c:pt>
                <c:pt idx="5">
                  <c:v>411.58315996232801</c:v>
                </c:pt>
                <c:pt idx="6">
                  <c:v>340.44410497026502</c:v>
                </c:pt>
                <c:pt idx="7">
                  <c:v>449.43371352096301</c:v>
                </c:pt>
                <c:pt idx="8">
                  <c:v>612.42844294707902</c:v>
                </c:pt>
                <c:pt idx="9">
                  <c:v>451.80338469654203</c:v>
                </c:pt>
                <c:pt idx="10">
                  <c:v>353.27106930736699</c:v>
                </c:pt>
                <c:pt idx="11">
                  <c:v>482.434438396833</c:v>
                </c:pt>
                <c:pt idx="12">
                  <c:v>521.40900571867905</c:v>
                </c:pt>
                <c:pt idx="13">
                  <c:v>113.079532604598</c:v>
                </c:pt>
                <c:pt idx="14">
                  <c:v>265.354259276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Moravskoslez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Olomoucký kraj</c:v>
                </c:pt>
                <c:pt idx="8">
                  <c:v>Ústecký kraj</c:v>
                </c:pt>
                <c:pt idx="9">
                  <c:v>Středočeský kraj</c:v>
                </c:pt>
                <c:pt idx="10">
                  <c:v>Zlín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45.64760535339002</c:v>
                </c:pt>
                <c:pt idx="1">
                  <c:v>197.316495659037</c:v>
                </c:pt>
                <c:pt idx="2">
                  <c:v>368.04798255179901</c:v>
                </c:pt>
                <c:pt idx="3">
                  <c:v>293.94473838918202</c:v>
                </c:pt>
                <c:pt idx="4">
                  <c:v>250.78230764109199</c:v>
                </c:pt>
                <c:pt idx="5">
                  <c:v>289.29433059023597</c:v>
                </c:pt>
                <c:pt idx="6">
                  <c:v>200.77472857220701</c:v>
                </c:pt>
                <c:pt idx="7">
                  <c:v>335.57717276231898</c:v>
                </c:pt>
                <c:pt idx="8">
                  <c:v>362.60332053276898</c:v>
                </c:pt>
                <c:pt idx="9">
                  <c:v>265.46639552791203</c:v>
                </c:pt>
                <c:pt idx="10">
                  <c:v>357.68695767371003</c:v>
                </c:pt>
                <c:pt idx="11">
                  <c:v>452.74616526471999</c:v>
                </c:pt>
                <c:pt idx="12">
                  <c:v>394.060262386467</c:v>
                </c:pt>
                <c:pt idx="13">
                  <c:v>129.83205595342699</c:v>
                </c:pt>
                <c:pt idx="14">
                  <c:v>161.026943663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Moravskoslez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Olomoucký kraj</c:v>
                </c:pt>
                <c:pt idx="8">
                  <c:v>Ústecký kraj</c:v>
                </c:pt>
                <c:pt idx="9">
                  <c:v>Středočeský kraj</c:v>
                </c:pt>
                <c:pt idx="10">
                  <c:v>Zlín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16.13759539873899</c:v>
                </c:pt>
                <c:pt idx="1">
                  <c:v>100.85065333684101</c:v>
                </c:pt>
                <c:pt idx="2">
                  <c:v>198.62906994859</c:v>
                </c:pt>
                <c:pt idx="3">
                  <c:v>149.071974468799</c:v>
                </c:pt>
                <c:pt idx="4">
                  <c:v>175.32568410306399</c:v>
                </c:pt>
                <c:pt idx="5">
                  <c:v>148.620662660748</c:v>
                </c:pt>
                <c:pt idx="6">
                  <c:v>106.93436630476199</c:v>
                </c:pt>
                <c:pt idx="7">
                  <c:v>155.80368735393401</c:v>
                </c:pt>
                <c:pt idx="8">
                  <c:v>209.85310282802001</c:v>
                </c:pt>
                <c:pt idx="9">
                  <c:v>124.22465944575301</c:v>
                </c:pt>
                <c:pt idx="10">
                  <c:v>223.00236250027501</c:v>
                </c:pt>
                <c:pt idx="11">
                  <c:v>239.98020781791101</c:v>
                </c:pt>
                <c:pt idx="12">
                  <c:v>153.77961458984001</c:v>
                </c:pt>
                <c:pt idx="13">
                  <c:v>58.633831720902002</c:v>
                </c:pt>
                <c:pt idx="14">
                  <c:v>40.82373219631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Moravskoslez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Olomoucký kraj</c:v>
                </c:pt>
                <c:pt idx="8">
                  <c:v>Ústecký kraj</c:v>
                </c:pt>
                <c:pt idx="9">
                  <c:v>Středočeský kraj</c:v>
                </c:pt>
                <c:pt idx="10">
                  <c:v>Zlín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94.016148656121999</c:v>
                </c:pt>
                <c:pt idx="1">
                  <c:v>74.541787248969001</c:v>
                </c:pt>
                <c:pt idx="2">
                  <c:v>62.315002336812</c:v>
                </c:pt>
                <c:pt idx="3">
                  <c:v>38.842697572855997</c:v>
                </c:pt>
                <c:pt idx="4">
                  <c:v>36.618655540512997</c:v>
                </c:pt>
                <c:pt idx="5">
                  <c:v>35.227722913202001</c:v>
                </c:pt>
                <c:pt idx="6">
                  <c:v>34.917344099513997</c:v>
                </c:pt>
                <c:pt idx="7">
                  <c:v>29.962247568064001</c:v>
                </c:pt>
                <c:pt idx="8">
                  <c:v>25.696298305471</c:v>
                </c:pt>
                <c:pt idx="9">
                  <c:v>25.525614954605999</c:v>
                </c:pt>
                <c:pt idx="10">
                  <c:v>24.287386014881001</c:v>
                </c:pt>
                <c:pt idx="11">
                  <c:v>19.792182088074998</c:v>
                </c:pt>
                <c:pt idx="12">
                  <c:v>16.819645345763</c:v>
                </c:pt>
                <c:pt idx="13">
                  <c:v>16.752523348829001</c:v>
                </c:pt>
                <c:pt idx="14">
                  <c:v>4.5359702440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Moravskoslez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Hlavní město Praha</c:v>
                </c:pt>
                <c:pt idx="7">
                  <c:v>Olomoucký kraj</c:v>
                </c:pt>
                <c:pt idx="8">
                  <c:v>Ústecký kraj</c:v>
                </c:pt>
                <c:pt idx="9">
                  <c:v>Středočeský kraj</c:v>
                </c:pt>
                <c:pt idx="10">
                  <c:v>Zlín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94.016148656121999</c:v>
                </c:pt>
                <c:pt idx="1">
                  <c:v>74.541787248969001</c:v>
                </c:pt>
                <c:pt idx="2">
                  <c:v>62.315002336812</c:v>
                </c:pt>
                <c:pt idx="3">
                  <c:v>38.842697572855997</c:v>
                </c:pt>
                <c:pt idx="4">
                  <c:v>36.618655540512997</c:v>
                </c:pt>
                <c:pt idx="5">
                  <c:v>35.227722913202001</c:v>
                </c:pt>
                <c:pt idx="6">
                  <c:v>34.917344099513997</c:v>
                </c:pt>
                <c:pt idx="7">
                  <c:v>29.962247568064001</c:v>
                </c:pt>
                <c:pt idx="8">
                  <c:v>25.696298305471</c:v>
                </c:pt>
                <c:pt idx="9">
                  <c:v>25.525614954605999</c:v>
                </c:pt>
                <c:pt idx="10">
                  <c:v>24.287386014881001</c:v>
                </c:pt>
                <c:pt idx="11">
                  <c:v>19.792182088074998</c:v>
                </c:pt>
                <c:pt idx="12">
                  <c:v>16.819645345763</c:v>
                </c:pt>
                <c:pt idx="13">
                  <c:v>16.752523348829001</c:v>
                </c:pt>
                <c:pt idx="14">
                  <c:v>4.5359702440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5098508700484945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70–79</c:v>
                </c:pt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2:$FN$2</c:f>
              <c:numCache>
                <c:formatCode>General</c:formatCode>
                <c:ptCount val="169"/>
                <c:pt idx="0">
                  <c:v>67</c:v>
                </c:pt>
                <c:pt idx="1">
                  <c:v>173</c:v>
                </c:pt>
                <c:pt idx="2">
                  <c:v>329</c:v>
                </c:pt>
                <c:pt idx="3">
                  <c:v>486</c:v>
                </c:pt>
                <c:pt idx="4">
                  <c:v>597</c:v>
                </c:pt>
                <c:pt idx="5">
                  <c:v>605</c:v>
                </c:pt>
                <c:pt idx="6">
                  <c:v>645</c:v>
                </c:pt>
                <c:pt idx="7">
                  <c:v>674</c:v>
                </c:pt>
                <c:pt idx="8">
                  <c:v>805</c:v>
                </c:pt>
                <c:pt idx="9">
                  <c:v>954</c:v>
                </c:pt>
                <c:pt idx="10">
                  <c:v>1191</c:v>
                </c:pt>
                <c:pt idx="11">
                  <c:v>1644</c:v>
                </c:pt>
                <c:pt idx="12">
                  <c:v>2150</c:v>
                </c:pt>
                <c:pt idx="13">
                  <c:v>2329</c:v>
                </c:pt>
                <c:pt idx="14">
                  <c:v>2480</c:v>
                </c:pt>
                <c:pt idx="15">
                  <c:v>2937</c:v>
                </c:pt>
                <c:pt idx="16">
                  <c:v>3836</c:v>
                </c:pt>
                <c:pt idx="17">
                  <c:v>5037</c:v>
                </c:pt>
                <c:pt idx="18">
                  <c:v>6456</c:v>
                </c:pt>
                <c:pt idx="19">
                  <c:v>7690</c:v>
                </c:pt>
                <c:pt idx="20">
                  <c:v>8043</c:v>
                </c:pt>
                <c:pt idx="21">
                  <c:v>8269</c:v>
                </c:pt>
                <c:pt idx="22">
                  <c:v>9265</c:v>
                </c:pt>
                <c:pt idx="23">
                  <c:v>10251</c:v>
                </c:pt>
                <c:pt idx="24">
                  <c:v>11371</c:v>
                </c:pt>
                <c:pt idx="25">
                  <c:v>12519</c:v>
                </c:pt>
                <c:pt idx="26">
                  <c:v>13381</c:v>
                </c:pt>
                <c:pt idx="27">
                  <c:v>13591</c:v>
                </c:pt>
                <c:pt idx="28">
                  <c:v>13723</c:v>
                </c:pt>
                <c:pt idx="29">
                  <c:v>14254</c:v>
                </c:pt>
                <c:pt idx="30">
                  <c:v>14891</c:v>
                </c:pt>
                <c:pt idx="31">
                  <c:v>15473</c:v>
                </c:pt>
                <c:pt idx="32">
                  <c:v>16078</c:v>
                </c:pt>
                <c:pt idx="33">
                  <c:v>16721</c:v>
                </c:pt>
                <c:pt idx="34">
                  <c:v>16854</c:v>
                </c:pt>
                <c:pt idx="35">
                  <c:v>17001</c:v>
                </c:pt>
                <c:pt idx="36">
                  <c:v>17621</c:v>
                </c:pt>
                <c:pt idx="37">
                  <c:v>18475</c:v>
                </c:pt>
                <c:pt idx="38">
                  <c:v>19615</c:v>
                </c:pt>
                <c:pt idx="39">
                  <c:v>20945</c:v>
                </c:pt>
                <c:pt idx="40">
                  <c:v>22089</c:v>
                </c:pt>
                <c:pt idx="41">
                  <c:v>22247</c:v>
                </c:pt>
                <c:pt idx="42">
                  <c:v>22414</c:v>
                </c:pt>
                <c:pt idx="43">
                  <c:v>23359</c:v>
                </c:pt>
                <c:pt idx="44">
                  <c:v>24488</c:v>
                </c:pt>
                <c:pt idx="45">
                  <c:v>25800</c:v>
                </c:pt>
                <c:pt idx="46">
                  <c:v>27514</c:v>
                </c:pt>
                <c:pt idx="47">
                  <c:v>28980</c:v>
                </c:pt>
                <c:pt idx="48">
                  <c:v>29323</c:v>
                </c:pt>
                <c:pt idx="49">
                  <c:v>29408</c:v>
                </c:pt>
                <c:pt idx="50">
                  <c:v>30354</c:v>
                </c:pt>
                <c:pt idx="51">
                  <c:v>31564</c:v>
                </c:pt>
                <c:pt idx="52">
                  <c:v>32849</c:v>
                </c:pt>
                <c:pt idx="53">
                  <c:v>34204</c:v>
                </c:pt>
                <c:pt idx="54">
                  <c:v>35478</c:v>
                </c:pt>
                <c:pt idx="55">
                  <c:v>35614</c:v>
                </c:pt>
                <c:pt idx="56">
                  <c:v>35677</c:v>
                </c:pt>
                <c:pt idx="57">
                  <c:v>36543</c:v>
                </c:pt>
                <c:pt idx="58">
                  <c:v>37583</c:v>
                </c:pt>
                <c:pt idx="59">
                  <c:v>38978</c:v>
                </c:pt>
                <c:pt idx="60">
                  <c:v>40638</c:v>
                </c:pt>
                <c:pt idx="61">
                  <c:v>42594</c:v>
                </c:pt>
                <c:pt idx="62">
                  <c:v>42911</c:v>
                </c:pt>
                <c:pt idx="63">
                  <c:v>43052</c:v>
                </c:pt>
                <c:pt idx="64">
                  <c:v>45709</c:v>
                </c:pt>
                <c:pt idx="65">
                  <c:v>51053</c:v>
                </c:pt>
                <c:pt idx="66">
                  <c:v>60149</c:v>
                </c:pt>
                <c:pt idx="67">
                  <c:v>72445</c:v>
                </c:pt>
                <c:pt idx="68">
                  <c:v>84380</c:v>
                </c:pt>
                <c:pt idx="69">
                  <c:v>89350</c:v>
                </c:pt>
                <c:pt idx="70">
                  <c:v>93971</c:v>
                </c:pt>
                <c:pt idx="71">
                  <c:v>107979</c:v>
                </c:pt>
                <c:pt idx="72">
                  <c:v>125436</c:v>
                </c:pt>
                <c:pt idx="73">
                  <c:v>148113</c:v>
                </c:pt>
                <c:pt idx="74">
                  <c:v>173060</c:v>
                </c:pt>
                <c:pt idx="75">
                  <c:v>195483</c:v>
                </c:pt>
                <c:pt idx="76">
                  <c:v>205950</c:v>
                </c:pt>
                <c:pt idx="77">
                  <c:v>213577</c:v>
                </c:pt>
                <c:pt idx="78">
                  <c:v>231429</c:v>
                </c:pt>
                <c:pt idx="79">
                  <c:v>254263</c:v>
                </c:pt>
                <c:pt idx="80">
                  <c:v>277573</c:v>
                </c:pt>
                <c:pt idx="81">
                  <c:v>301319</c:v>
                </c:pt>
                <c:pt idx="82">
                  <c:v>321120</c:v>
                </c:pt>
                <c:pt idx="83">
                  <c:v>330402</c:v>
                </c:pt>
                <c:pt idx="84">
                  <c:v>335262</c:v>
                </c:pt>
                <c:pt idx="85">
                  <c:v>351004</c:v>
                </c:pt>
                <c:pt idx="86">
                  <c:v>368573</c:v>
                </c:pt>
                <c:pt idx="87">
                  <c:v>387352</c:v>
                </c:pt>
                <c:pt idx="88">
                  <c:v>405846</c:v>
                </c:pt>
                <c:pt idx="89">
                  <c:v>422186</c:v>
                </c:pt>
                <c:pt idx="90">
                  <c:v>429251</c:v>
                </c:pt>
                <c:pt idx="91">
                  <c:v>433460</c:v>
                </c:pt>
                <c:pt idx="92">
                  <c:v>450441</c:v>
                </c:pt>
                <c:pt idx="93">
                  <c:v>471449</c:v>
                </c:pt>
                <c:pt idx="94">
                  <c:v>494982</c:v>
                </c:pt>
                <c:pt idx="95">
                  <c:v>522833</c:v>
                </c:pt>
                <c:pt idx="96">
                  <c:v>533220</c:v>
                </c:pt>
                <c:pt idx="97">
                  <c:v>540656</c:v>
                </c:pt>
                <c:pt idx="98">
                  <c:v>546474</c:v>
                </c:pt>
                <c:pt idx="99">
                  <c:v>551664</c:v>
                </c:pt>
                <c:pt idx="100">
                  <c:v>574678</c:v>
                </c:pt>
                <c:pt idx="101">
                  <c:v>598182</c:v>
                </c:pt>
                <c:pt idx="102">
                  <c:v>637090</c:v>
                </c:pt>
                <c:pt idx="103">
                  <c:v>672600</c:v>
                </c:pt>
                <c:pt idx="104">
                  <c:v>689872</c:v>
                </c:pt>
                <c:pt idx="105">
                  <c:v>701908</c:v>
                </c:pt>
                <c:pt idx="106">
                  <c:v>737602</c:v>
                </c:pt>
                <c:pt idx="107">
                  <c:v>770751</c:v>
                </c:pt>
                <c:pt idx="108">
                  <c:v>807093</c:v>
                </c:pt>
                <c:pt idx="109">
                  <c:v>842899</c:v>
                </c:pt>
                <c:pt idx="110">
                  <c:v>871099</c:v>
                </c:pt>
                <c:pt idx="111">
                  <c:v>880848</c:v>
                </c:pt>
                <c:pt idx="112">
                  <c:v>888597</c:v>
                </c:pt>
                <c:pt idx="113">
                  <c:v>909336</c:v>
                </c:pt>
                <c:pt idx="114">
                  <c:v>929286</c:v>
                </c:pt>
                <c:pt idx="115">
                  <c:v>946691</c:v>
                </c:pt>
                <c:pt idx="116">
                  <c:v>966468</c:v>
                </c:pt>
                <c:pt idx="117">
                  <c:v>980698</c:v>
                </c:pt>
                <c:pt idx="118">
                  <c:v>986782</c:v>
                </c:pt>
                <c:pt idx="119">
                  <c:v>990763</c:v>
                </c:pt>
                <c:pt idx="120">
                  <c:v>1001703</c:v>
                </c:pt>
                <c:pt idx="121">
                  <c:v>1014640</c:v>
                </c:pt>
                <c:pt idx="122">
                  <c:v>1028447</c:v>
                </c:pt>
                <c:pt idx="123">
                  <c:v>1043048</c:v>
                </c:pt>
                <c:pt idx="124">
                  <c:v>1052898</c:v>
                </c:pt>
                <c:pt idx="125">
                  <c:v>1056454</c:v>
                </c:pt>
                <c:pt idx="126">
                  <c:v>1059017</c:v>
                </c:pt>
                <c:pt idx="127">
                  <c:v>1066474</c:v>
                </c:pt>
                <c:pt idx="128">
                  <c:v>1075973</c:v>
                </c:pt>
                <c:pt idx="129">
                  <c:v>1086187</c:v>
                </c:pt>
                <c:pt idx="130">
                  <c:v>1097011</c:v>
                </c:pt>
                <c:pt idx="131">
                  <c:v>1105215</c:v>
                </c:pt>
                <c:pt idx="132">
                  <c:v>1107640</c:v>
                </c:pt>
                <c:pt idx="133">
                  <c:v>1109357</c:v>
                </c:pt>
                <c:pt idx="134">
                  <c:v>1116230</c:v>
                </c:pt>
                <c:pt idx="135">
                  <c:v>1124589</c:v>
                </c:pt>
                <c:pt idx="136">
                  <c:v>1132511</c:v>
                </c:pt>
                <c:pt idx="137">
                  <c:v>1140372</c:v>
                </c:pt>
                <c:pt idx="138">
                  <c:v>1145601</c:v>
                </c:pt>
                <c:pt idx="139">
                  <c:v>1147430</c:v>
                </c:pt>
                <c:pt idx="140">
                  <c:v>1148799</c:v>
                </c:pt>
                <c:pt idx="141">
                  <c:v>1153646</c:v>
                </c:pt>
                <c:pt idx="142">
                  <c:v>1162342</c:v>
                </c:pt>
                <c:pt idx="143">
                  <c:v>1171176</c:v>
                </c:pt>
                <c:pt idx="144">
                  <c:v>1186932</c:v>
                </c:pt>
                <c:pt idx="145">
                  <c:v>1200993</c:v>
                </c:pt>
                <c:pt idx="146">
                  <c:v>1207091</c:v>
                </c:pt>
                <c:pt idx="147">
                  <c:v>1212480</c:v>
                </c:pt>
                <c:pt idx="148">
                  <c:v>1229617</c:v>
                </c:pt>
                <c:pt idx="149">
                  <c:v>1246229</c:v>
                </c:pt>
                <c:pt idx="150">
                  <c:v>1265419</c:v>
                </c:pt>
                <c:pt idx="151">
                  <c:v>1285952</c:v>
                </c:pt>
                <c:pt idx="152">
                  <c:v>1303608</c:v>
                </c:pt>
                <c:pt idx="153">
                  <c:v>1309412</c:v>
                </c:pt>
                <c:pt idx="154">
                  <c:v>1315060</c:v>
                </c:pt>
                <c:pt idx="155">
                  <c:v>1330213</c:v>
                </c:pt>
                <c:pt idx="156">
                  <c:v>1345906</c:v>
                </c:pt>
                <c:pt idx="157">
                  <c:v>1361520</c:v>
                </c:pt>
                <c:pt idx="158">
                  <c:v>1378298</c:v>
                </c:pt>
                <c:pt idx="159">
                  <c:v>1392360</c:v>
                </c:pt>
                <c:pt idx="160">
                  <c:v>1396853</c:v>
                </c:pt>
                <c:pt idx="161">
                  <c:v>1399712</c:v>
                </c:pt>
                <c:pt idx="162">
                  <c:v>1411880</c:v>
                </c:pt>
                <c:pt idx="163">
                  <c:v>1424882</c:v>
                </c:pt>
                <c:pt idx="164">
                  <c:v>1437823</c:v>
                </c:pt>
                <c:pt idx="165">
                  <c:v>1451048</c:v>
                </c:pt>
                <c:pt idx="166">
                  <c:v>1461794</c:v>
                </c:pt>
                <c:pt idx="167">
                  <c:v>1464848</c:v>
                </c:pt>
                <c:pt idx="168">
                  <c:v>14664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65–69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3:$FN$3</c:f>
              <c:numCache>
                <c:formatCode>General</c:formatCode>
                <c:ptCount val="169"/>
                <c:pt idx="0">
                  <c:v>82</c:v>
                </c:pt>
                <c:pt idx="1">
                  <c:v>217</c:v>
                </c:pt>
                <c:pt idx="2">
                  <c:v>394</c:v>
                </c:pt>
                <c:pt idx="3">
                  <c:v>558</c:v>
                </c:pt>
                <c:pt idx="4">
                  <c:v>619</c:v>
                </c:pt>
                <c:pt idx="5">
                  <c:v>631</c:v>
                </c:pt>
                <c:pt idx="6">
                  <c:v>681</c:v>
                </c:pt>
                <c:pt idx="7">
                  <c:v>723</c:v>
                </c:pt>
                <c:pt idx="8">
                  <c:v>917</c:v>
                </c:pt>
                <c:pt idx="9">
                  <c:v>1142</c:v>
                </c:pt>
                <c:pt idx="10">
                  <c:v>1426</c:v>
                </c:pt>
                <c:pt idx="11">
                  <c:v>1799</c:v>
                </c:pt>
                <c:pt idx="12">
                  <c:v>2249</c:v>
                </c:pt>
                <c:pt idx="13">
                  <c:v>2396</c:v>
                </c:pt>
                <c:pt idx="14">
                  <c:v>2527</c:v>
                </c:pt>
                <c:pt idx="15">
                  <c:v>2989</c:v>
                </c:pt>
                <c:pt idx="16">
                  <c:v>3695</c:v>
                </c:pt>
                <c:pt idx="17">
                  <c:v>4450</c:v>
                </c:pt>
                <c:pt idx="18">
                  <c:v>5328</c:v>
                </c:pt>
                <c:pt idx="19">
                  <c:v>6143</c:v>
                </c:pt>
                <c:pt idx="20">
                  <c:v>6309</c:v>
                </c:pt>
                <c:pt idx="21">
                  <c:v>6421</c:v>
                </c:pt>
                <c:pt idx="22">
                  <c:v>7137</c:v>
                </c:pt>
                <c:pt idx="23">
                  <c:v>7870</c:v>
                </c:pt>
                <c:pt idx="24">
                  <c:v>8566</c:v>
                </c:pt>
                <c:pt idx="25">
                  <c:v>9218</c:v>
                </c:pt>
                <c:pt idx="26">
                  <c:v>9693</c:v>
                </c:pt>
                <c:pt idx="27">
                  <c:v>9794</c:v>
                </c:pt>
                <c:pt idx="28">
                  <c:v>9882</c:v>
                </c:pt>
                <c:pt idx="29">
                  <c:v>10309</c:v>
                </c:pt>
                <c:pt idx="30">
                  <c:v>10883</c:v>
                </c:pt>
                <c:pt idx="31">
                  <c:v>11321</c:v>
                </c:pt>
                <c:pt idx="32">
                  <c:v>11782</c:v>
                </c:pt>
                <c:pt idx="33">
                  <c:v>12316</c:v>
                </c:pt>
                <c:pt idx="34">
                  <c:v>12434</c:v>
                </c:pt>
                <c:pt idx="35">
                  <c:v>12544</c:v>
                </c:pt>
                <c:pt idx="36">
                  <c:v>13069</c:v>
                </c:pt>
                <c:pt idx="37">
                  <c:v>13746</c:v>
                </c:pt>
                <c:pt idx="38">
                  <c:v>14506</c:v>
                </c:pt>
                <c:pt idx="39">
                  <c:v>15386</c:v>
                </c:pt>
                <c:pt idx="40">
                  <c:v>16166</c:v>
                </c:pt>
                <c:pt idx="41">
                  <c:v>16283</c:v>
                </c:pt>
                <c:pt idx="42">
                  <c:v>16372</c:v>
                </c:pt>
                <c:pt idx="43">
                  <c:v>17010</c:v>
                </c:pt>
                <c:pt idx="44">
                  <c:v>17721</c:v>
                </c:pt>
                <c:pt idx="45">
                  <c:v>18440</c:v>
                </c:pt>
                <c:pt idx="46">
                  <c:v>19337</c:v>
                </c:pt>
                <c:pt idx="47">
                  <c:v>20126</c:v>
                </c:pt>
                <c:pt idx="48">
                  <c:v>20260</c:v>
                </c:pt>
                <c:pt idx="49">
                  <c:v>20324</c:v>
                </c:pt>
                <c:pt idx="50">
                  <c:v>20830</c:v>
                </c:pt>
                <c:pt idx="51">
                  <c:v>21422</c:v>
                </c:pt>
                <c:pt idx="52">
                  <c:v>22019</c:v>
                </c:pt>
                <c:pt idx="53">
                  <c:v>22800</c:v>
                </c:pt>
                <c:pt idx="54">
                  <c:v>23413</c:v>
                </c:pt>
                <c:pt idx="55">
                  <c:v>23494</c:v>
                </c:pt>
                <c:pt idx="56">
                  <c:v>23528</c:v>
                </c:pt>
                <c:pt idx="57">
                  <c:v>23988</c:v>
                </c:pt>
                <c:pt idx="58">
                  <c:v>24627</c:v>
                </c:pt>
                <c:pt idx="59">
                  <c:v>25337</c:v>
                </c:pt>
                <c:pt idx="60">
                  <c:v>26122</c:v>
                </c:pt>
                <c:pt idx="61">
                  <c:v>26935</c:v>
                </c:pt>
                <c:pt idx="62">
                  <c:v>27011</c:v>
                </c:pt>
                <c:pt idx="63">
                  <c:v>27081</c:v>
                </c:pt>
                <c:pt idx="64">
                  <c:v>28121</c:v>
                </c:pt>
                <c:pt idx="65">
                  <c:v>29667</c:v>
                </c:pt>
                <c:pt idx="66">
                  <c:v>31311</c:v>
                </c:pt>
                <c:pt idx="67">
                  <c:v>33063</c:v>
                </c:pt>
                <c:pt idx="68">
                  <c:v>34477</c:v>
                </c:pt>
                <c:pt idx="69">
                  <c:v>35057</c:v>
                </c:pt>
                <c:pt idx="70">
                  <c:v>35706</c:v>
                </c:pt>
                <c:pt idx="71">
                  <c:v>36878</c:v>
                </c:pt>
                <c:pt idx="72">
                  <c:v>38281</c:v>
                </c:pt>
                <c:pt idx="73">
                  <c:v>39783</c:v>
                </c:pt>
                <c:pt idx="74">
                  <c:v>41608</c:v>
                </c:pt>
                <c:pt idx="75">
                  <c:v>43474</c:v>
                </c:pt>
                <c:pt idx="76">
                  <c:v>43937</c:v>
                </c:pt>
                <c:pt idx="77">
                  <c:v>44260</c:v>
                </c:pt>
                <c:pt idx="78">
                  <c:v>45585</c:v>
                </c:pt>
                <c:pt idx="79">
                  <c:v>47343</c:v>
                </c:pt>
                <c:pt idx="80">
                  <c:v>49090</c:v>
                </c:pt>
                <c:pt idx="81">
                  <c:v>50920</c:v>
                </c:pt>
                <c:pt idx="82">
                  <c:v>52984</c:v>
                </c:pt>
                <c:pt idx="83">
                  <c:v>53450</c:v>
                </c:pt>
                <c:pt idx="84">
                  <c:v>53632</c:v>
                </c:pt>
                <c:pt idx="85">
                  <c:v>55370</c:v>
                </c:pt>
                <c:pt idx="86">
                  <c:v>57336</c:v>
                </c:pt>
                <c:pt idx="87">
                  <c:v>59740</c:v>
                </c:pt>
                <c:pt idx="88">
                  <c:v>62090</c:v>
                </c:pt>
                <c:pt idx="89">
                  <c:v>64548</c:v>
                </c:pt>
                <c:pt idx="90">
                  <c:v>65120</c:v>
                </c:pt>
                <c:pt idx="91">
                  <c:v>65765</c:v>
                </c:pt>
                <c:pt idx="92">
                  <c:v>68411</c:v>
                </c:pt>
                <c:pt idx="93">
                  <c:v>71336</c:v>
                </c:pt>
                <c:pt idx="94">
                  <c:v>74323</c:v>
                </c:pt>
                <c:pt idx="95">
                  <c:v>77762</c:v>
                </c:pt>
                <c:pt idx="96">
                  <c:v>78776</c:v>
                </c:pt>
                <c:pt idx="97">
                  <c:v>79418</c:v>
                </c:pt>
                <c:pt idx="98">
                  <c:v>79834</c:v>
                </c:pt>
                <c:pt idx="99">
                  <c:v>80203</c:v>
                </c:pt>
                <c:pt idx="100">
                  <c:v>82573</c:v>
                </c:pt>
                <c:pt idx="101">
                  <c:v>85489</c:v>
                </c:pt>
                <c:pt idx="102">
                  <c:v>90044</c:v>
                </c:pt>
                <c:pt idx="103">
                  <c:v>94929</c:v>
                </c:pt>
                <c:pt idx="104">
                  <c:v>96804</c:v>
                </c:pt>
                <c:pt idx="105">
                  <c:v>97840</c:v>
                </c:pt>
                <c:pt idx="106">
                  <c:v>103224</c:v>
                </c:pt>
                <c:pt idx="107">
                  <c:v>108603</c:v>
                </c:pt>
                <c:pt idx="108">
                  <c:v>115480</c:v>
                </c:pt>
                <c:pt idx="109">
                  <c:v>126105</c:v>
                </c:pt>
                <c:pt idx="110">
                  <c:v>135742</c:v>
                </c:pt>
                <c:pt idx="111">
                  <c:v>140224</c:v>
                </c:pt>
                <c:pt idx="112">
                  <c:v>142970</c:v>
                </c:pt>
                <c:pt idx="113">
                  <c:v>158507</c:v>
                </c:pt>
                <c:pt idx="114">
                  <c:v>174521</c:v>
                </c:pt>
                <c:pt idx="115">
                  <c:v>196399</c:v>
                </c:pt>
                <c:pt idx="116">
                  <c:v>222130</c:v>
                </c:pt>
                <c:pt idx="117">
                  <c:v>242189</c:v>
                </c:pt>
                <c:pt idx="118">
                  <c:v>250335</c:v>
                </c:pt>
                <c:pt idx="119">
                  <c:v>256739</c:v>
                </c:pt>
                <c:pt idx="120">
                  <c:v>280224</c:v>
                </c:pt>
                <c:pt idx="121">
                  <c:v>300845</c:v>
                </c:pt>
                <c:pt idx="122">
                  <c:v>324526</c:v>
                </c:pt>
                <c:pt idx="123">
                  <c:v>345596</c:v>
                </c:pt>
                <c:pt idx="124">
                  <c:v>361411</c:v>
                </c:pt>
                <c:pt idx="125">
                  <c:v>365212</c:v>
                </c:pt>
                <c:pt idx="126">
                  <c:v>369967</c:v>
                </c:pt>
                <c:pt idx="127">
                  <c:v>382699</c:v>
                </c:pt>
                <c:pt idx="128">
                  <c:v>395080</c:v>
                </c:pt>
                <c:pt idx="129">
                  <c:v>407542</c:v>
                </c:pt>
                <c:pt idx="130">
                  <c:v>420040</c:v>
                </c:pt>
                <c:pt idx="131">
                  <c:v>429781</c:v>
                </c:pt>
                <c:pt idx="132">
                  <c:v>433236</c:v>
                </c:pt>
                <c:pt idx="133">
                  <c:v>435818</c:v>
                </c:pt>
                <c:pt idx="134">
                  <c:v>444153</c:v>
                </c:pt>
                <c:pt idx="135">
                  <c:v>453434</c:v>
                </c:pt>
                <c:pt idx="136">
                  <c:v>461880</c:v>
                </c:pt>
                <c:pt idx="137">
                  <c:v>469668</c:v>
                </c:pt>
                <c:pt idx="138">
                  <c:v>475367</c:v>
                </c:pt>
                <c:pt idx="139">
                  <c:v>477712</c:v>
                </c:pt>
                <c:pt idx="140">
                  <c:v>479505</c:v>
                </c:pt>
                <c:pt idx="141">
                  <c:v>484975</c:v>
                </c:pt>
                <c:pt idx="142">
                  <c:v>490908</c:v>
                </c:pt>
                <c:pt idx="143">
                  <c:v>497043</c:v>
                </c:pt>
                <c:pt idx="144">
                  <c:v>504006</c:v>
                </c:pt>
                <c:pt idx="145">
                  <c:v>509573</c:v>
                </c:pt>
                <c:pt idx="146">
                  <c:v>512103</c:v>
                </c:pt>
                <c:pt idx="147">
                  <c:v>514000</c:v>
                </c:pt>
                <c:pt idx="148">
                  <c:v>520160</c:v>
                </c:pt>
                <c:pt idx="149">
                  <c:v>526378</c:v>
                </c:pt>
                <c:pt idx="150">
                  <c:v>533652</c:v>
                </c:pt>
                <c:pt idx="151">
                  <c:v>544253</c:v>
                </c:pt>
                <c:pt idx="152">
                  <c:v>553144</c:v>
                </c:pt>
                <c:pt idx="153">
                  <c:v>557956</c:v>
                </c:pt>
                <c:pt idx="154">
                  <c:v>561036</c:v>
                </c:pt>
                <c:pt idx="155">
                  <c:v>576104</c:v>
                </c:pt>
                <c:pt idx="156">
                  <c:v>591787</c:v>
                </c:pt>
                <c:pt idx="157">
                  <c:v>613141</c:v>
                </c:pt>
                <c:pt idx="158">
                  <c:v>637790</c:v>
                </c:pt>
                <c:pt idx="159">
                  <c:v>657278</c:v>
                </c:pt>
                <c:pt idx="160">
                  <c:v>665898</c:v>
                </c:pt>
                <c:pt idx="161">
                  <c:v>672263</c:v>
                </c:pt>
                <c:pt idx="162">
                  <c:v>695661</c:v>
                </c:pt>
                <c:pt idx="163">
                  <c:v>716099</c:v>
                </c:pt>
                <c:pt idx="164">
                  <c:v>738656</c:v>
                </c:pt>
                <c:pt idx="165">
                  <c:v>758045</c:v>
                </c:pt>
                <c:pt idx="166">
                  <c:v>773519</c:v>
                </c:pt>
                <c:pt idx="167">
                  <c:v>777773</c:v>
                </c:pt>
                <c:pt idx="168">
                  <c:v>782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80+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4:$FN$4</c:f>
              <c:numCache>
                <c:formatCode>General</c:formatCode>
                <c:ptCount val="169"/>
                <c:pt idx="0">
                  <c:v>26</c:v>
                </c:pt>
                <c:pt idx="1">
                  <c:v>125</c:v>
                </c:pt>
                <c:pt idx="2">
                  <c:v>405</c:v>
                </c:pt>
                <c:pt idx="3">
                  <c:v>599</c:v>
                </c:pt>
                <c:pt idx="4">
                  <c:v>717</c:v>
                </c:pt>
                <c:pt idx="5">
                  <c:v>720</c:v>
                </c:pt>
                <c:pt idx="6">
                  <c:v>732</c:v>
                </c:pt>
                <c:pt idx="7">
                  <c:v>735</c:v>
                </c:pt>
                <c:pt idx="8">
                  <c:v>766</c:v>
                </c:pt>
                <c:pt idx="9">
                  <c:v>807</c:v>
                </c:pt>
                <c:pt idx="10">
                  <c:v>874</c:v>
                </c:pt>
                <c:pt idx="11">
                  <c:v>1277</c:v>
                </c:pt>
                <c:pt idx="12">
                  <c:v>2137</c:v>
                </c:pt>
                <c:pt idx="13">
                  <c:v>2323</c:v>
                </c:pt>
                <c:pt idx="14">
                  <c:v>2430</c:v>
                </c:pt>
                <c:pt idx="15">
                  <c:v>3066</c:v>
                </c:pt>
                <c:pt idx="16">
                  <c:v>4724</c:v>
                </c:pt>
                <c:pt idx="17">
                  <c:v>6424</c:v>
                </c:pt>
                <c:pt idx="18">
                  <c:v>8711</c:v>
                </c:pt>
                <c:pt idx="19">
                  <c:v>11005</c:v>
                </c:pt>
                <c:pt idx="20">
                  <c:v>12513</c:v>
                </c:pt>
                <c:pt idx="21">
                  <c:v>14165</c:v>
                </c:pt>
                <c:pt idx="22">
                  <c:v>18923</c:v>
                </c:pt>
                <c:pt idx="23">
                  <c:v>24634</c:v>
                </c:pt>
                <c:pt idx="24">
                  <c:v>31229</c:v>
                </c:pt>
                <c:pt idx="25">
                  <c:v>39529</c:v>
                </c:pt>
                <c:pt idx="26">
                  <c:v>48485</c:v>
                </c:pt>
                <c:pt idx="27">
                  <c:v>50956</c:v>
                </c:pt>
                <c:pt idx="28">
                  <c:v>52793</c:v>
                </c:pt>
                <c:pt idx="29">
                  <c:v>58942</c:v>
                </c:pt>
                <c:pt idx="30">
                  <c:v>65302</c:v>
                </c:pt>
                <c:pt idx="31">
                  <c:v>70799</c:v>
                </c:pt>
                <c:pt idx="32">
                  <c:v>75442</c:v>
                </c:pt>
                <c:pt idx="33">
                  <c:v>79783</c:v>
                </c:pt>
                <c:pt idx="34">
                  <c:v>80411</c:v>
                </c:pt>
                <c:pt idx="35">
                  <c:v>81070</c:v>
                </c:pt>
                <c:pt idx="36">
                  <c:v>84010</c:v>
                </c:pt>
                <c:pt idx="37">
                  <c:v>87337</c:v>
                </c:pt>
                <c:pt idx="38">
                  <c:v>90934</c:v>
                </c:pt>
                <c:pt idx="39">
                  <c:v>95711</c:v>
                </c:pt>
                <c:pt idx="40">
                  <c:v>100456</c:v>
                </c:pt>
                <c:pt idx="41">
                  <c:v>102235</c:v>
                </c:pt>
                <c:pt idx="42">
                  <c:v>104342</c:v>
                </c:pt>
                <c:pt idx="43">
                  <c:v>110415</c:v>
                </c:pt>
                <c:pt idx="44">
                  <c:v>118013</c:v>
                </c:pt>
                <c:pt idx="45">
                  <c:v>126748</c:v>
                </c:pt>
                <c:pt idx="46">
                  <c:v>137958</c:v>
                </c:pt>
                <c:pt idx="47">
                  <c:v>149339</c:v>
                </c:pt>
                <c:pt idx="48">
                  <c:v>152250</c:v>
                </c:pt>
                <c:pt idx="49">
                  <c:v>154041</c:v>
                </c:pt>
                <c:pt idx="50">
                  <c:v>162928</c:v>
                </c:pt>
                <c:pt idx="51">
                  <c:v>173502</c:v>
                </c:pt>
                <c:pt idx="52">
                  <c:v>183661</c:v>
                </c:pt>
                <c:pt idx="53">
                  <c:v>195422</c:v>
                </c:pt>
                <c:pt idx="54">
                  <c:v>206576</c:v>
                </c:pt>
                <c:pt idx="55">
                  <c:v>208759</c:v>
                </c:pt>
                <c:pt idx="56">
                  <c:v>210384</c:v>
                </c:pt>
                <c:pt idx="57">
                  <c:v>220379</c:v>
                </c:pt>
                <c:pt idx="58">
                  <c:v>232338</c:v>
                </c:pt>
                <c:pt idx="59">
                  <c:v>243513</c:v>
                </c:pt>
                <c:pt idx="60">
                  <c:v>256837</c:v>
                </c:pt>
                <c:pt idx="61">
                  <c:v>268214</c:v>
                </c:pt>
                <c:pt idx="62">
                  <c:v>270427</c:v>
                </c:pt>
                <c:pt idx="63">
                  <c:v>272082</c:v>
                </c:pt>
                <c:pt idx="64">
                  <c:v>282009</c:v>
                </c:pt>
                <c:pt idx="65">
                  <c:v>291874</c:v>
                </c:pt>
                <c:pt idx="66">
                  <c:v>302214</c:v>
                </c:pt>
                <c:pt idx="67">
                  <c:v>312995</c:v>
                </c:pt>
                <c:pt idx="68">
                  <c:v>321809</c:v>
                </c:pt>
                <c:pt idx="69">
                  <c:v>324335</c:v>
                </c:pt>
                <c:pt idx="70">
                  <c:v>326566</c:v>
                </c:pt>
                <c:pt idx="71">
                  <c:v>334366</c:v>
                </c:pt>
                <c:pt idx="72">
                  <c:v>343836</c:v>
                </c:pt>
                <c:pt idx="73">
                  <c:v>354016</c:v>
                </c:pt>
                <c:pt idx="74">
                  <c:v>364678</c:v>
                </c:pt>
                <c:pt idx="75">
                  <c:v>373189</c:v>
                </c:pt>
                <c:pt idx="76">
                  <c:v>375578</c:v>
                </c:pt>
                <c:pt idx="77">
                  <c:v>377230</c:v>
                </c:pt>
                <c:pt idx="78">
                  <c:v>384783</c:v>
                </c:pt>
                <c:pt idx="79">
                  <c:v>394859</c:v>
                </c:pt>
                <c:pt idx="80">
                  <c:v>404410</c:v>
                </c:pt>
                <c:pt idx="81">
                  <c:v>415828</c:v>
                </c:pt>
                <c:pt idx="82">
                  <c:v>426747</c:v>
                </c:pt>
                <c:pt idx="83">
                  <c:v>429133</c:v>
                </c:pt>
                <c:pt idx="84">
                  <c:v>430744</c:v>
                </c:pt>
                <c:pt idx="85">
                  <c:v>438455</c:v>
                </c:pt>
                <c:pt idx="86">
                  <c:v>446314</c:v>
                </c:pt>
                <c:pt idx="87">
                  <c:v>454249</c:v>
                </c:pt>
                <c:pt idx="88">
                  <c:v>463957</c:v>
                </c:pt>
                <c:pt idx="89">
                  <c:v>471660</c:v>
                </c:pt>
                <c:pt idx="90">
                  <c:v>473528</c:v>
                </c:pt>
                <c:pt idx="91">
                  <c:v>474862</c:v>
                </c:pt>
                <c:pt idx="92">
                  <c:v>481356</c:v>
                </c:pt>
                <c:pt idx="93">
                  <c:v>487696</c:v>
                </c:pt>
                <c:pt idx="94">
                  <c:v>494621</c:v>
                </c:pt>
                <c:pt idx="95">
                  <c:v>501842</c:v>
                </c:pt>
                <c:pt idx="96">
                  <c:v>503886</c:v>
                </c:pt>
                <c:pt idx="97">
                  <c:v>505374</c:v>
                </c:pt>
                <c:pt idx="98">
                  <c:v>506705</c:v>
                </c:pt>
                <c:pt idx="99">
                  <c:v>507608</c:v>
                </c:pt>
                <c:pt idx="100">
                  <c:v>512010</c:v>
                </c:pt>
                <c:pt idx="101">
                  <c:v>516401</c:v>
                </c:pt>
                <c:pt idx="102">
                  <c:v>522534</c:v>
                </c:pt>
                <c:pt idx="103">
                  <c:v>527535</c:v>
                </c:pt>
                <c:pt idx="104">
                  <c:v>529319</c:v>
                </c:pt>
                <c:pt idx="105">
                  <c:v>530388</c:v>
                </c:pt>
                <c:pt idx="106">
                  <c:v>533807</c:v>
                </c:pt>
                <c:pt idx="107">
                  <c:v>537411</c:v>
                </c:pt>
                <c:pt idx="108">
                  <c:v>540834</c:v>
                </c:pt>
                <c:pt idx="109">
                  <c:v>544893</c:v>
                </c:pt>
                <c:pt idx="110">
                  <c:v>548215</c:v>
                </c:pt>
                <c:pt idx="111">
                  <c:v>548932</c:v>
                </c:pt>
                <c:pt idx="112">
                  <c:v>549472</c:v>
                </c:pt>
                <c:pt idx="113">
                  <c:v>551797</c:v>
                </c:pt>
                <c:pt idx="114">
                  <c:v>554230</c:v>
                </c:pt>
                <c:pt idx="115">
                  <c:v>556520</c:v>
                </c:pt>
                <c:pt idx="116">
                  <c:v>559131</c:v>
                </c:pt>
                <c:pt idx="117">
                  <c:v>561001</c:v>
                </c:pt>
                <c:pt idx="118">
                  <c:v>561578</c:v>
                </c:pt>
                <c:pt idx="119">
                  <c:v>561924</c:v>
                </c:pt>
                <c:pt idx="120">
                  <c:v>563429</c:v>
                </c:pt>
                <c:pt idx="121">
                  <c:v>565115</c:v>
                </c:pt>
                <c:pt idx="122">
                  <c:v>567076</c:v>
                </c:pt>
                <c:pt idx="123">
                  <c:v>569377</c:v>
                </c:pt>
                <c:pt idx="124">
                  <c:v>570825</c:v>
                </c:pt>
                <c:pt idx="125">
                  <c:v>571189</c:v>
                </c:pt>
                <c:pt idx="126">
                  <c:v>571540</c:v>
                </c:pt>
                <c:pt idx="127">
                  <c:v>572691</c:v>
                </c:pt>
                <c:pt idx="128">
                  <c:v>574434</c:v>
                </c:pt>
                <c:pt idx="129">
                  <c:v>576303</c:v>
                </c:pt>
                <c:pt idx="130">
                  <c:v>578582</c:v>
                </c:pt>
                <c:pt idx="131">
                  <c:v>580383</c:v>
                </c:pt>
                <c:pt idx="132">
                  <c:v>580750</c:v>
                </c:pt>
                <c:pt idx="133">
                  <c:v>581108</c:v>
                </c:pt>
                <c:pt idx="134">
                  <c:v>583088</c:v>
                </c:pt>
                <c:pt idx="135">
                  <c:v>585707</c:v>
                </c:pt>
                <c:pt idx="136">
                  <c:v>588335</c:v>
                </c:pt>
                <c:pt idx="137">
                  <c:v>590969</c:v>
                </c:pt>
                <c:pt idx="138">
                  <c:v>593009</c:v>
                </c:pt>
                <c:pt idx="139">
                  <c:v>593771</c:v>
                </c:pt>
                <c:pt idx="140">
                  <c:v>594432</c:v>
                </c:pt>
                <c:pt idx="141">
                  <c:v>596165</c:v>
                </c:pt>
                <c:pt idx="142">
                  <c:v>598676</c:v>
                </c:pt>
                <c:pt idx="143">
                  <c:v>601835</c:v>
                </c:pt>
                <c:pt idx="144">
                  <c:v>605494</c:v>
                </c:pt>
                <c:pt idx="145">
                  <c:v>608070</c:v>
                </c:pt>
                <c:pt idx="146">
                  <c:v>608739</c:v>
                </c:pt>
                <c:pt idx="147">
                  <c:v>609215</c:v>
                </c:pt>
                <c:pt idx="148">
                  <c:v>612133</c:v>
                </c:pt>
                <c:pt idx="149">
                  <c:v>615695</c:v>
                </c:pt>
                <c:pt idx="150">
                  <c:v>619130</c:v>
                </c:pt>
                <c:pt idx="151">
                  <c:v>622599</c:v>
                </c:pt>
                <c:pt idx="152">
                  <c:v>625294</c:v>
                </c:pt>
                <c:pt idx="153">
                  <c:v>625788</c:v>
                </c:pt>
                <c:pt idx="154">
                  <c:v>626277</c:v>
                </c:pt>
                <c:pt idx="155">
                  <c:v>628416</c:v>
                </c:pt>
                <c:pt idx="156">
                  <c:v>631394</c:v>
                </c:pt>
                <c:pt idx="157">
                  <c:v>635073</c:v>
                </c:pt>
                <c:pt idx="158">
                  <c:v>638738</c:v>
                </c:pt>
                <c:pt idx="159">
                  <c:v>641389</c:v>
                </c:pt>
                <c:pt idx="160">
                  <c:v>641995</c:v>
                </c:pt>
                <c:pt idx="161">
                  <c:v>642327</c:v>
                </c:pt>
                <c:pt idx="162">
                  <c:v>644640</c:v>
                </c:pt>
                <c:pt idx="163">
                  <c:v>647452</c:v>
                </c:pt>
                <c:pt idx="164">
                  <c:v>650111</c:v>
                </c:pt>
                <c:pt idx="165">
                  <c:v>652840</c:v>
                </c:pt>
                <c:pt idx="166">
                  <c:v>654939</c:v>
                </c:pt>
                <c:pt idx="167">
                  <c:v>655442</c:v>
                </c:pt>
                <c:pt idx="168">
                  <c:v>655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0–64</c:v>
                </c:pt>
              </c:strCache>
            </c:strRef>
          </c:tx>
          <c:spPr>
            <a:ln w="28575" cap="rnd">
              <a:solidFill>
                <a:srgbClr val="FFCC99"/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5:$FN$5</c:f>
              <c:numCache>
                <c:formatCode>General</c:formatCode>
                <c:ptCount val="169"/>
                <c:pt idx="0">
                  <c:v>96</c:v>
                </c:pt>
                <c:pt idx="1">
                  <c:v>278</c:v>
                </c:pt>
                <c:pt idx="2">
                  <c:v>526</c:v>
                </c:pt>
                <c:pt idx="3">
                  <c:v>821</c:v>
                </c:pt>
                <c:pt idx="4">
                  <c:v>906</c:v>
                </c:pt>
                <c:pt idx="5">
                  <c:v>929</c:v>
                </c:pt>
                <c:pt idx="6">
                  <c:v>1036</c:v>
                </c:pt>
                <c:pt idx="7">
                  <c:v>1099</c:v>
                </c:pt>
                <c:pt idx="8">
                  <c:v>1389</c:v>
                </c:pt>
                <c:pt idx="9">
                  <c:v>1727</c:v>
                </c:pt>
                <c:pt idx="10">
                  <c:v>2189</c:v>
                </c:pt>
                <c:pt idx="11">
                  <c:v>2857</c:v>
                </c:pt>
                <c:pt idx="12">
                  <c:v>3606</c:v>
                </c:pt>
                <c:pt idx="13">
                  <c:v>3786</c:v>
                </c:pt>
                <c:pt idx="14">
                  <c:v>3928</c:v>
                </c:pt>
                <c:pt idx="15">
                  <c:v>4721</c:v>
                </c:pt>
                <c:pt idx="16">
                  <c:v>5743</c:v>
                </c:pt>
                <c:pt idx="17">
                  <c:v>6714</c:v>
                </c:pt>
                <c:pt idx="18">
                  <c:v>7839</c:v>
                </c:pt>
                <c:pt idx="19">
                  <c:v>8955</c:v>
                </c:pt>
                <c:pt idx="20">
                  <c:v>9137</c:v>
                </c:pt>
                <c:pt idx="21">
                  <c:v>9277</c:v>
                </c:pt>
                <c:pt idx="22">
                  <c:v>10181</c:v>
                </c:pt>
                <c:pt idx="23">
                  <c:v>11083</c:v>
                </c:pt>
                <c:pt idx="24">
                  <c:v>12051</c:v>
                </c:pt>
                <c:pt idx="25">
                  <c:v>12836</c:v>
                </c:pt>
                <c:pt idx="26">
                  <c:v>13403</c:v>
                </c:pt>
                <c:pt idx="27">
                  <c:v>13555</c:v>
                </c:pt>
                <c:pt idx="28">
                  <c:v>13655</c:v>
                </c:pt>
                <c:pt idx="29">
                  <c:v>14195</c:v>
                </c:pt>
                <c:pt idx="30">
                  <c:v>14901</c:v>
                </c:pt>
                <c:pt idx="31">
                  <c:v>15580</c:v>
                </c:pt>
                <c:pt idx="32">
                  <c:v>16354</c:v>
                </c:pt>
                <c:pt idx="33">
                  <c:v>17215</c:v>
                </c:pt>
                <c:pt idx="34">
                  <c:v>17331</c:v>
                </c:pt>
                <c:pt idx="35">
                  <c:v>17437</c:v>
                </c:pt>
                <c:pt idx="36">
                  <c:v>18216</c:v>
                </c:pt>
                <c:pt idx="37">
                  <c:v>19172</c:v>
                </c:pt>
                <c:pt idx="38">
                  <c:v>20137</c:v>
                </c:pt>
                <c:pt idx="39">
                  <c:v>21236</c:v>
                </c:pt>
                <c:pt idx="40">
                  <c:v>22328</c:v>
                </c:pt>
                <c:pt idx="41">
                  <c:v>22469</c:v>
                </c:pt>
                <c:pt idx="42">
                  <c:v>22568</c:v>
                </c:pt>
                <c:pt idx="43">
                  <c:v>23464</c:v>
                </c:pt>
                <c:pt idx="44">
                  <c:v>24308</c:v>
                </c:pt>
                <c:pt idx="45">
                  <c:v>25259</c:v>
                </c:pt>
                <c:pt idx="46">
                  <c:v>26317</c:v>
                </c:pt>
                <c:pt idx="47">
                  <c:v>27201</c:v>
                </c:pt>
                <c:pt idx="48">
                  <c:v>27345</c:v>
                </c:pt>
                <c:pt idx="49">
                  <c:v>27401</c:v>
                </c:pt>
                <c:pt idx="50">
                  <c:v>27993</c:v>
                </c:pt>
                <c:pt idx="51">
                  <c:v>28607</c:v>
                </c:pt>
                <c:pt idx="52">
                  <c:v>29286</c:v>
                </c:pt>
                <c:pt idx="53">
                  <c:v>30117</c:v>
                </c:pt>
                <c:pt idx="54">
                  <c:v>30762</c:v>
                </c:pt>
                <c:pt idx="55">
                  <c:v>30848</c:v>
                </c:pt>
                <c:pt idx="56">
                  <c:v>30890</c:v>
                </c:pt>
                <c:pt idx="57">
                  <c:v>31444</c:v>
                </c:pt>
                <c:pt idx="58">
                  <c:v>32123</c:v>
                </c:pt>
                <c:pt idx="59">
                  <c:v>32961</c:v>
                </c:pt>
                <c:pt idx="60">
                  <c:v>33830</c:v>
                </c:pt>
                <c:pt idx="61">
                  <c:v>34692</c:v>
                </c:pt>
                <c:pt idx="62">
                  <c:v>34783</c:v>
                </c:pt>
                <c:pt idx="63">
                  <c:v>34915</c:v>
                </c:pt>
                <c:pt idx="64">
                  <c:v>36358</c:v>
                </c:pt>
                <c:pt idx="65">
                  <c:v>39058</c:v>
                </c:pt>
                <c:pt idx="66">
                  <c:v>41430</c:v>
                </c:pt>
                <c:pt idx="67">
                  <c:v>43971</c:v>
                </c:pt>
                <c:pt idx="68">
                  <c:v>45875</c:v>
                </c:pt>
                <c:pt idx="69">
                  <c:v>46697</c:v>
                </c:pt>
                <c:pt idx="70">
                  <c:v>47370</c:v>
                </c:pt>
                <c:pt idx="71">
                  <c:v>49212</c:v>
                </c:pt>
                <c:pt idx="72">
                  <c:v>51321</c:v>
                </c:pt>
                <c:pt idx="73">
                  <c:v>53223</c:v>
                </c:pt>
                <c:pt idx="74">
                  <c:v>55317</c:v>
                </c:pt>
                <c:pt idx="75">
                  <c:v>57004</c:v>
                </c:pt>
                <c:pt idx="76">
                  <c:v>57606</c:v>
                </c:pt>
                <c:pt idx="77">
                  <c:v>57972</c:v>
                </c:pt>
                <c:pt idx="78">
                  <c:v>59126</c:v>
                </c:pt>
                <c:pt idx="79">
                  <c:v>60825</c:v>
                </c:pt>
                <c:pt idx="80">
                  <c:v>62429</c:v>
                </c:pt>
                <c:pt idx="81">
                  <c:v>63979</c:v>
                </c:pt>
                <c:pt idx="82">
                  <c:v>65872</c:v>
                </c:pt>
                <c:pt idx="83">
                  <c:v>66300</c:v>
                </c:pt>
                <c:pt idx="84">
                  <c:v>66493</c:v>
                </c:pt>
                <c:pt idx="85">
                  <c:v>68152</c:v>
                </c:pt>
                <c:pt idx="86">
                  <c:v>69919</c:v>
                </c:pt>
                <c:pt idx="87">
                  <c:v>71973</c:v>
                </c:pt>
                <c:pt idx="88">
                  <c:v>74078</c:v>
                </c:pt>
                <c:pt idx="89">
                  <c:v>76215</c:v>
                </c:pt>
                <c:pt idx="90">
                  <c:v>76712</c:v>
                </c:pt>
                <c:pt idx="91">
                  <c:v>77159</c:v>
                </c:pt>
                <c:pt idx="92">
                  <c:v>79490</c:v>
                </c:pt>
                <c:pt idx="93">
                  <c:v>82157</c:v>
                </c:pt>
                <c:pt idx="94">
                  <c:v>84673</c:v>
                </c:pt>
                <c:pt idx="95">
                  <c:v>87566</c:v>
                </c:pt>
                <c:pt idx="96">
                  <c:v>88347</c:v>
                </c:pt>
                <c:pt idx="97">
                  <c:v>89034</c:v>
                </c:pt>
                <c:pt idx="98">
                  <c:v>89459</c:v>
                </c:pt>
                <c:pt idx="99">
                  <c:v>89889</c:v>
                </c:pt>
                <c:pt idx="100">
                  <c:v>92162</c:v>
                </c:pt>
                <c:pt idx="101">
                  <c:v>94393</c:v>
                </c:pt>
                <c:pt idx="102">
                  <c:v>97532</c:v>
                </c:pt>
                <c:pt idx="103">
                  <c:v>100890</c:v>
                </c:pt>
                <c:pt idx="104">
                  <c:v>102123</c:v>
                </c:pt>
                <c:pt idx="105">
                  <c:v>102832</c:v>
                </c:pt>
                <c:pt idx="106">
                  <c:v>106048</c:v>
                </c:pt>
                <c:pt idx="107">
                  <c:v>109133</c:v>
                </c:pt>
                <c:pt idx="108">
                  <c:v>112445</c:v>
                </c:pt>
                <c:pt idx="109">
                  <c:v>116520</c:v>
                </c:pt>
                <c:pt idx="110">
                  <c:v>121157</c:v>
                </c:pt>
                <c:pt idx="111">
                  <c:v>122446</c:v>
                </c:pt>
                <c:pt idx="112">
                  <c:v>123296</c:v>
                </c:pt>
                <c:pt idx="113">
                  <c:v>126810</c:v>
                </c:pt>
                <c:pt idx="114">
                  <c:v>130354</c:v>
                </c:pt>
                <c:pt idx="115">
                  <c:v>134306</c:v>
                </c:pt>
                <c:pt idx="116">
                  <c:v>138839</c:v>
                </c:pt>
                <c:pt idx="117">
                  <c:v>143312</c:v>
                </c:pt>
                <c:pt idx="118">
                  <c:v>145218</c:v>
                </c:pt>
                <c:pt idx="119">
                  <c:v>148163</c:v>
                </c:pt>
                <c:pt idx="120">
                  <c:v>157027</c:v>
                </c:pt>
                <c:pt idx="121">
                  <c:v>169653</c:v>
                </c:pt>
                <c:pt idx="122">
                  <c:v>186437</c:v>
                </c:pt>
                <c:pt idx="123">
                  <c:v>208495</c:v>
                </c:pt>
                <c:pt idx="124">
                  <c:v>229649</c:v>
                </c:pt>
                <c:pt idx="125">
                  <c:v>236466</c:v>
                </c:pt>
                <c:pt idx="126">
                  <c:v>242247</c:v>
                </c:pt>
                <c:pt idx="127">
                  <c:v>263720</c:v>
                </c:pt>
                <c:pt idx="128">
                  <c:v>281321</c:v>
                </c:pt>
                <c:pt idx="129">
                  <c:v>301055</c:v>
                </c:pt>
                <c:pt idx="130">
                  <c:v>318932</c:v>
                </c:pt>
                <c:pt idx="131">
                  <c:v>335841</c:v>
                </c:pt>
                <c:pt idx="132">
                  <c:v>340617</c:v>
                </c:pt>
                <c:pt idx="133">
                  <c:v>344612</c:v>
                </c:pt>
                <c:pt idx="134">
                  <c:v>356163</c:v>
                </c:pt>
                <c:pt idx="135">
                  <c:v>367537</c:v>
                </c:pt>
                <c:pt idx="136">
                  <c:v>377347</c:v>
                </c:pt>
                <c:pt idx="137">
                  <c:v>386452</c:v>
                </c:pt>
                <c:pt idx="138">
                  <c:v>394505</c:v>
                </c:pt>
                <c:pt idx="139">
                  <c:v>397189</c:v>
                </c:pt>
                <c:pt idx="140">
                  <c:v>399214</c:v>
                </c:pt>
                <c:pt idx="141">
                  <c:v>404642</c:v>
                </c:pt>
                <c:pt idx="142">
                  <c:v>410492</c:v>
                </c:pt>
                <c:pt idx="143">
                  <c:v>416267</c:v>
                </c:pt>
                <c:pt idx="144">
                  <c:v>422485</c:v>
                </c:pt>
                <c:pt idx="145">
                  <c:v>428074</c:v>
                </c:pt>
                <c:pt idx="146">
                  <c:v>430640</c:v>
                </c:pt>
                <c:pt idx="147">
                  <c:v>432430</c:v>
                </c:pt>
                <c:pt idx="148">
                  <c:v>437355</c:v>
                </c:pt>
                <c:pt idx="149">
                  <c:v>443064</c:v>
                </c:pt>
                <c:pt idx="150">
                  <c:v>449322</c:v>
                </c:pt>
                <c:pt idx="151">
                  <c:v>456068</c:v>
                </c:pt>
                <c:pt idx="152">
                  <c:v>462491</c:v>
                </c:pt>
                <c:pt idx="153">
                  <c:v>464526</c:v>
                </c:pt>
                <c:pt idx="154">
                  <c:v>466054</c:v>
                </c:pt>
                <c:pt idx="155">
                  <c:v>471295</c:v>
                </c:pt>
                <c:pt idx="156">
                  <c:v>476893</c:v>
                </c:pt>
                <c:pt idx="157">
                  <c:v>482844</c:v>
                </c:pt>
                <c:pt idx="158">
                  <c:v>488930</c:v>
                </c:pt>
                <c:pt idx="159">
                  <c:v>494898</c:v>
                </c:pt>
                <c:pt idx="160">
                  <c:v>497565</c:v>
                </c:pt>
                <c:pt idx="161">
                  <c:v>500824</c:v>
                </c:pt>
                <c:pt idx="162">
                  <c:v>510646</c:v>
                </c:pt>
                <c:pt idx="163">
                  <c:v>523737</c:v>
                </c:pt>
                <c:pt idx="164">
                  <c:v>540028</c:v>
                </c:pt>
                <c:pt idx="165">
                  <c:v>560581</c:v>
                </c:pt>
                <c:pt idx="166">
                  <c:v>581484</c:v>
                </c:pt>
                <c:pt idx="167">
                  <c:v>588791</c:v>
                </c:pt>
                <c:pt idx="168">
                  <c:v>594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B2-46E3-85FE-A83BCF6CC085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55–59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6:$FN$6</c:f>
              <c:numCache>
                <c:formatCode>General</c:formatCode>
                <c:ptCount val="169"/>
                <c:pt idx="0">
                  <c:v>107</c:v>
                </c:pt>
                <c:pt idx="1">
                  <c:v>309</c:v>
                </c:pt>
                <c:pt idx="2">
                  <c:v>643</c:v>
                </c:pt>
                <c:pt idx="3">
                  <c:v>1016</c:v>
                </c:pt>
                <c:pt idx="4">
                  <c:v>1129</c:v>
                </c:pt>
                <c:pt idx="5">
                  <c:v>1159</c:v>
                </c:pt>
                <c:pt idx="6">
                  <c:v>1286</c:v>
                </c:pt>
                <c:pt idx="7">
                  <c:v>1386</c:v>
                </c:pt>
                <c:pt idx="8">
                  <c:v>1808</c:v>
                </c:pt>
                <c:pt idx="9">
                  <c:v>2329</c:v>
                </c:pt>
                <c:pt idx="10">
                  <c:v>2980</c:v>
                </c:pt>
                <c:pt idx="11">
                  <c:v>3818</c:v>
                </c:pt>
                <c:pt idx="12">
                  <c:v>4829</c:v>
                </c:pt>
                <c:pt idx="13">
                  <c:v>5043</c:v>
                </c:pt>
                <c:pt idx="14">
                  <c:v>5230</c:v>
                </c:pt>
                <c:pt idx="15">
                  <c:v>6268</c:v>
                </c:pt>
                <c:pt idx="16">
                  <c:v>7534</c:v>
                </c:pt>
                <c:pt idx="17">
                  <c:v>8878</c:v>
                </c:pt>
                <c:pt idx="18">
                  <c:v>10366</c:v>
                </c:pt>
                <c:pt idx="19">
                  <c:v>11746</c:v>
                </c:pt>
                <c:pt idx="20">
                  <c:v>11935</c:v>
                </c:pt>
                <c:pt idx="21">
                  <c:v>12074</c:v>
                </c:pt>
                <c:pt idx="22">
                  <c:v>13104</c:v>
                </c:pt>
                <c:pt idx="23">
                  <c:v>14265</c:v>
                </c:pt>
                <c:pt idx="24">
                  <c:v>15439</c:v>
                </c:pt>
                <c:pt idx="25">
                  <c:v>16510</c:v>
                </c:pt>
                <c:pt idx="26">
                  <c:v>17358</c:v>
                </c:pt>
                <c:pt idx="27">
                  <c:v>17554</c:v>
                </c:pt>
                <c:pt idx="28">
                  <c:v>17687</c:v>
                </c:pt>
                <c:pt idx="29">
                  <c:v>18425</c:v>
                </c:pt>
                <c:pt idx="30">
                  <c:v>19400</c:v>
                </c:pt>
                <c:pt idx="31">
                  <c:v>20352</c:v>
                </c:pt>
                <c:pt idx="32">
                  <c:v>21283</c:v>
                </c:pt>
                <c:pt idx="33">
                  <c:v>22418</c:v>
                </c:pt>
                <c:pt idx="34">
                  <c:v>22564</c:v>
                </c:pt>
                <c:pt idx="35">
                  <c:v>22685</c:v>
                </c:pt>
                <c:pt idx="36">
                  <c:v>23657</c:v>
                </c:pt>
                <c:pt idx="37">
                  <c:v>24864</c:v>
                </c:pt>
                <c:pt idx="38">
                  <c:v>26231</c:v>
                </c:pt>
                <c:pt idx="39">
                  <c:v>27716</c:v>
                </c:pt>
                <c:pt idx="40">
                  <c:v>29017</c:v>
                </c:pt>
                <c:pt idx="41">
                  <c:v>29167</c:v>
                </c:pt>
                <c:pt idx="42">
                  <c:v>29310</c:v>
                </c:pt>
                <c:pt idx="43">
                  <c:v>30379</c:v>
                </c:pt>
                <c:pt idx="44">
                  <c:v>31482</c:v>
                </c:pt>
                <c:pt idx="45">
                  <c:v>32709</c:v>
                </c:pt>
                <c:pt idx="46">
                  <c:v>33954</c:v>
                </c:pt>
                <c:pt idx="47">
                  <c:v>35100</c:v>
                </c:pt>
                <c:pt idx="48">
                  <c:v>35291</c:v>
                </c:pt>
                <c:pt idx="49">
                  <c:v>35371</c:v>
                </c:pt>
                <c:pt idx="50">
                  <c:v>36089</c:v>
                </c:pt>
                <c:pt idx="51">
                  <c:v>36841</c:v>
                </c:pt>
                <c:pt idx="52">
                  <c:v>37738</c:v>
                </c:pt>
                <c:pt idx="53">
                  <c:v>38697</c:v>
                </c:pt>
                <c:pt idx="54">
                  <c:v>39593</c:v>
                </c:pt>
                <c:pt idx="55">
                  <c:v>39684</c:v>
                </c:pt>
                <c:pt idx="56">
                  <c:v>39727</c:v>
                </c:pt>
                <c:pt idx="57">
                  <c:v>40424</c:v>
                </c:pt>
                <c:pt idx="58">
                  <c:v>41256</c:v>
                </c:pt>
                <c:pt idx="59">
                  <c:v>42200</c:v>
                </c:pt>
                <c:pt idx="60">
                  <c:v>43267</c:v>
                </c:pt>
                <c:pt idx="61">
                  <c:v>44331</c:v>
                </c:pt>
                <c:pt idx="62">
                  <c:v>44445</c:v>
                </c:pt>
                <c:pt idx="63">
                  <c:v>44652</c:v>
                </c:pt>
                <c:pt idx="64">
                  <c:v>46319</c:v>
                </c:pt>
                <c:pt idx="65">
                  <c:v>49520</c:v>
                </c:pt>
                <c:pt idx="66">
                  <c:v>52201</c:v>
                </c:pt>
                <c:pt idx="67">
                  <c:v>54673</c:v>
                </c:pt>
                <c:pt idx="68">
                  <c:v>56899</c:v>
                </c:pt>
                <c:pt idx="69">
                  <c:v>58019</c:v>
                </c:pt>
                <c:pt idx="70">
                  <c:v>58910</c:v>
                </c:pt>
                <c:pt idx="71">
                  <c:v>61162</c:v>
                </c:pt>
                <c:pt idx="72">
                  <c:v>63634</c:v>
                </c:pt>
                <c:pt idx="73">
                  <c:v>66236</c:v>
                </c:pt>
                <c:pt idx="74">
                  <c:v>68879</c:v>
                </c:pt>
                <c:pt idx="75">
                  <c:v>71210</c:v>
                </c:pt>
                <c:pt idx="76">
                  <c:v>72165</c:v>
                </c:pt>
                <c:pt idx="77">
                  <c:v>72802</c:v>
                </c:pt>
                <c:pt idx="78">
                  <c:v>74396</c:v>
                </c:pt>
                <c:pt idx="79">
                  <c:v>76786</c:v>
                </c:pt>
                <c:pt idx="80">
                  <c:v>79024</c:v>
                </c:pt>
                <c:pt idx="81">
                  <c:v>81216</c:v>
                </c:pt>
                <c:pt idx="82">
                  <c:v>83695</c:v>
                </c:pt>
                <c:pt idx="83">
                  <c:v>84550</c:v>
                </c:pt>
                <c:pt idx="84">
                  <c:v>84894</c:v>
                </c:pt>
                <c:pt idx="85">
                  <c:v>86924</c:v>
                </c:pt>
                <c:pt idx="86">
                  <c:v>89154</c:v>
                </c:pt>
                <c:pt idx="87">
                  <c:v>91405</c:v>
                </c:pt>
                <c:pt idx="88">
                  <c:v>93604</c:v>
                </c:pt>
                <c:pt idx="89">
                  <c:v>96019</c:v>
                </c:pt>
                <c:pt idx="90">
                  <c:v>96805</c:v>
                </c:pt>
                <c:pt idx="91">
                  <c:v>97477</c:v>
                </c:pt>
                <c:pt idx="92">
                  <c:v>99836</c:v>
                </c:pt>
                <c:pt idx="93">
                  <c:v>102592</c:v>
                </c:pt>
                <c:pt idx="94">
                  <c:v>105476</c:v>
                </c:pt>
                <c:pt idx="95">
                  <c:v>108675</c:v>
                </c:pt>
                <c:pt idx="96">
                  <c:v>109797</c:v>
                </c:pt>
                <c:pt idx="97">
                  <c:v>110658</c:v>
                </c:pt>
                <c:pt idx="98">
                  <c:v>111361</c:v>
                </c:pt>
                <c:pt idx="99">
                  <c:v>111838</c:v>
                </c:pt>
                <c:pt idx="100">
                  <c:v>114578</c:v>
                </c:pt>
                <c:pt idx="101">
                  <c:v>117265</c:v>
                </c:pt>
                <c:pt idx="102">
                  <c:v>120297</c:v>
                </c:pt>
                <c:pt idx="103">
                  <c:v>124022</c:v>
                </c:pt>
                <c:pt idx="104">
                  <c:v>125517</c:v>
                </c:pt>
                <c:pt idx="105">
                  <c:v>126346</c:v>
                </c:pt>
                <c:pt idx="106">
                  <c:v>129389</c:v>
                </c:pt>
                <c:pt idx="107">
                  <c:v>132511</c:v>
                </c:pt>
                <c:pt idx="108">
                  <c:v>135583</c:v>
                </c:pt>
                <c:pt idx="109">
                  <c:v>139237</c:v>
                </c:pt>
                <c:pt idx="110">
                  <c:v>143615</c:v>
                </c:pt>
                <c:pt idx="111">
                  <c:v>145437</c:v>
                </c:pt>
                <c:pt idx="112">
                  <c:v>146370</c:v>
                </c:pt>
                <c:pt idx="113">
                  <c:v>149503</c:v>
                </c:pt>
                <c:pt idx="114">
                  <c:v>152612</c:v>
                </c:pt>
                <c:pt idx="115">
                  <c:v>155824</c:v>
                </c:pt>
                <c:pt idx="116">
                  <c:v>159634</c:v>
                </c:pt>
                <c:pt idx="117">
                  <c:v>163320</c:v>
                </c:pt>
                <c:pt idx="118">
                  <c:v>164268</c:v>
                </c:pt>
                <c:pt idx="119">
                  <c:v>165124</c:v>
                </c:pt>
                <c:pt idx="120">
                  <c:v>167383</c:v>
                </c:pt>
                <c:pt idx="121">
                  <c:v>169836</c:v>
                </c:pt>
                <c:pt idx="122">
                  <c:v>172985</c:v>
                </c:pt>
                <c:pt idx="123">
                  <c:v>179441</c:v>
                </c:pt>
                <c:pt idx="124">
                  <c:v>187561</c:v>
                </c:pt>
                <c:pt idx="125">
                  <c:v>191879</c:v>
                </c:pt>
                <c:pt idx="126">
                  <c:v>196190</c:v>
                </c:pt>
                <c:pt idx="127">
                  <c:v>213851</c:v>
                </c:pt>
                <c:pt idx="128">
                  <c:v>233532</c:v>
                </c:pt>
                <c:pt idx="129">
                  <c:v>255570</c:v>
                </c:pt>
                <c:pt idx="130">
                  <c:v>278570</c:v>
                </c:pt>
                <c:pt idx="131">
                  <c:v>300720</c:v>
                </c:pt>
                <c:pt idx="132">
                  <c:v>308248</c:v>
                </c:pt>
                <c:pt idx="133">
                  <c:v>314788</c:v>
                </c:pt>
                <c:pt idx="134">
                  <c:v>330512</c:v>
                </c:pt>
                <c:pt idx="135">
                  <c:v>345769</c:v>
                </c:pt>
                <c:pt idx="136">
                  <c:v>359107</c:v>
                </c:pt>
                <c:pt idx="137">
                  <c:v>371110</c:v>
                </c:pt>
                <c:pt idx="138">
                  <c:v>384269</c:v>
                </c:pt>
                <c:pt idx="139">
                  <c:v>388625</c:v>
                </c:pt>
                <c:pt idx="140">
                  <c:v>392204</c:v>
                </c:pt>
                <c:pt idx="141">
                  <c:v>400090</c:v>
                </c:pt>
                <c:pt idx="142">
                  <c:v>407914</c:v>
                </c:pt>
                <c:pt idx="143">
                  <c:v>415540</c:v>
                </c:pt>
                <c:pt idx="144">
                  <c:v>423145</c:v>
                </c:pt>
                <c:pt idx="145">
                  <c:v>430635</c:v>
                </c:pt>
                <c:pt idx="146">
                  <c:v>434178</c:v>
                </c:pt>
                <c:pt idx="147">
                  <c:v>436627</c:v>
                </c:pt>
                <c:pt idx="148">
                  <c:v>441820</c:v>
                </c:pt>
                <c:pt idx="149">
                  <c:v>448320</c:v>
                </c:pt>
                <c:pt idx="150">
                  <c:v>455199</c:v>
                </c:pt>
                <c:pt idx="151">
                  <c:v>462292</c:v>
                </c:pt>
                <c:pt idx="152">
                  <c:v>469362</c:v>
                </c:pt>
                <c:pt idx="153">
                  <c:v>472230</c:v>
                </c:pt>
                <c:pt idx="154">
                  <c:v>474296</c:v>
                </c:pt>
                <c:pt idx="155">
                  <c:v>479740</c:v>
                </c:pt>
                <c:pt idx="156">
                  <c:v>485423</c:v>
                </c:pt>
                <c:pt idx="157">
                  <c:v>491264</c:v>
                </c:pt>
                <c:pt idx="158">
                  <c:v>497171</c:v>
                </c:pt>
                <c:pt idx="159">
                  <c:v>503607</c:v>
                </c:pt>
                <c:pt idx="160">
                  <c:v>505790</c:v>
                </c:pt>
                <c:pt idx="161">
                  <c:v>507164</c:v>
                </c:pt>
                <c:pt idx="162">
                  <c:v>511833</c:v>
                </c:pt>
                <c:pt idx="163">
                  <c:v>516419</c:v>
                </c:pt>
                <c:pt idx="164">
                  <c:v>521081</c:v>
                </c:pt>
                <c:pt idx="165">
                  <c:v>528175</c:v>
                </c:pt>
                <c:pt idx="166">
                  <c:v>537538</c:v>
                </c:pt>
                <c:pt idx="167">
                  <c:v>542633</c:v>
                </c:pt>
                <c:pt idx="168">
                  <c:v>547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19-41FB-ABC8-408C78914621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40–44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7:$FN$7</c:f>
              <c:numCache>
                <c:formatCode>General</c:formatCode>
                <c:ptCount val="169"/>
                <c:pt idx="0">
                  <c:v>178</c:v>
                </c:pt>
                <c:pt idx="1">
                  <c:v>469</c:v>
                </c:pt>
                <c:pt idx="2">
                  <c:v>901</c:v>
                </c:pt>
                <c:pt idx="3">
                  <c:v>1382</c:v>
                </c:pt>
                <c:pt idx="4">
                  <c:v>1537</c:v>
                </c:pt>
                <c:pt idx="5">
                  <c:v>1582</c:v>
                </c:pt>
                <c:pt idx="6">
                  <c:v>1782</c:v>
                </c:pt>
                <c:pt idx="7">
                  <c:v>1931</c:v>
                </c:pt>
                <c:pt idx="8">
                  <c:v>2447</c:v>
                </c:pt>
                <c:pt idx="9">
                  <c:v>3088</c:v>
                </c:pt>
                <c:pt idx="10">
                  <c:v>3921</c:v>
                </c:pt>
                <c:pt idx="11">
                  <c:v>4914</c:v>
                </c:pt>
                <c:pt idx="12">
                  <c:v>6188</c:v>
                </c:pt>
                <c:pt idx="13">
                  <c:v>6393</c:v>
                </c:pt>
                <c:pt idx="14">
                  <c:v>6600</c:v>
                </c:pt>
                <c:pt idx="15">
                  <c:v>7926</c:v>
                </c:pt>
                <c:pt idx="16">
                  <c:v>9495</c:v>
                </c:pt>
                <c:pt idx="17">
                  <c:v>10960</c:v>
                </c:pt>
                <c:pt idx="18">
                  <c:v>12546</c:v>
                </c:pt>
                <c:pt idx="19">
                  <c:v>13959</c:v>
                </c:pt>
                <c:pt idx="20">
                  <c:v>14170</c:v>
                </c:pt>
                <c:pt idx="21">
                  <c:v>14337</c:v>
                </c:pt>
                <c:pt idx="22">
                  <c:v>15553</c:v>
                </c:pt>
                <c:pt idx="23">
                  <c:v>16709</c:v>
                </c:pt>
                <c:pt idx="24">
                  <c:v>17801</c:v>
                </c:pt>
                <c:pt idx="25">
                  <c:v>18887</c:v>
                </c:pt>
                <c:pt idx="26">
                  <c:v>19743</c:v>
                </c:pt>
                <c:pt idx="27">
                  <c:v>19953</c:v>
                </c:pt>
                <c:pt idx="28">
                  <c:v>20117</c:v>
                </c:pt>
                <c:pt idx="29">
                  <c:v>20939</c:v>
                </c:pt>
                <c:pt idx="30">
                  <c:v>21942</c:v>
                </c:pt>
                <c:pt idx="31">
                  <c:v>23003</c:v>
                </c:pt>
                <c:pt idx="32">
                  <c:v>24100</c:v>
                </c:pt>
                <c:pt idx="33">
                  <c:v>25387</c:v>
                </c:pt>
                <c:pt idx="34">
                  <c:v>25518</c:v>
                </c:pt>
                <c:pt idx="35">
                  <c:v>25656</c:v>
                </c:pt>
                <c:pt idx="36">
                  <c:v>26885</c:v>
                </c:pt>
                <c:pt idx="37">
                  <c:v>28292</c:v>
                </c:pt>
                <c:pt idx="38">
                  <c:v>29776</c:v>
                </c:pt>
                <c:pt idx="39">
                  <c:v>31380</c:v>
                </c:pt>
                <c:pt idx="40">
                  <c:v>32765</c:v>
                </c:pt>
                <c:pt idx="41">
                  <c:v>32927</c:v>
                </c:pt>
                <c:pt idx="42">
                  <c:v>33049</c:v>
                </c:pt>
                <c:pt idx="43">
                  <c:v>34243</c:v>
                </c:pt>
                <c:pt idx="44">
                  <c:v>35402</c:v>
                </c:pt>
                <c:pt idx="45">
                  <c:v>36549</c:v>
                </c:pt>
                <c:pt idx="46">
                  <c:v>37791</c:v>
                </c:pt>
                <c:pt idx="47">
                  <c:v>38955</c:v>
                </c:pt>
                <c:pt idx="48">
                  <c:v>39117</c:v>
                </c:pt>
                <c:pt idx="49">
                  <c:v>39166</c:v>
                </c:pt>
                <c:pt idx="50">
                  <c:v>39950</c:v>
                </c:pt>
                <c:pt idx="51">
                  <c:v>40728</c:v>
                </c:pt>
                <c:pt idx="52">
                  <c:v>41508</c:v>
                </c:pt>
                <c:pt idx="53">
                  <c:v>42388</c:v>
                </c:pt>
                <c:pt idx="54">
                  <c:v>43235</c:v>
                </c:pt>
                <c:pt idx="55">
                  <c:v>43321</c:v>
                </c:pt>
                <c:pt idx="56">
                  <c:v>43345</c:v>
                </c:pt>
                <c:pt idx="57">
                  <c:v>43987</c:v>
                </c:pt>
                <c:pt idx="58">
                  <c:v>44878</c:v>
                </c:pt>
                <c:pt idx="59">
                  <c:v>45748</c:v>
                </c:pt>
                <c:pt idx="60">
                  <c:v>46814</c:v>
                </c:pt>
                <c:pt idx="61">
                  <c:v>47837</c:v>
                </c:pt>
                <c:pt idx="62">
                  <c:v>47978</c:v>
                </c:pt>
                <c:pt idx="63">
                  <c:v>48101</c:v>
                </c:pt>
                <c:pt idx="64">
                  <c:v>49316</c:v>
                </c:pt>
                <c:pt idx="65">
                  <c:v>50968</c:v>
                </c:pt>
                <c:pt idx="66">
                  <c:v>52839</c:v>
                </c:pt>
                <c:pt idx="67">
                  <c:v>54467</c:v>
                </c:pt>
                <c:pt idx="68">
                  <c:v>56056</c:v>
                </c:pt>
                <c:pt idx="69">
                  <c:v>56610</c:v>
                </c:pt>
                <c:pt idx="70">
                  <c:v>57238</c:v>
                </c:pt>
                <c:pt idx="71">
                  <c:v>58700</c:v>
                </c:pt>
                <c:pt idx="72">
                  <c:v>60542</c:v>
                </c:pt>
                <c:pt idx="73">
                  <c:v>62336</c:v>
                </c:pt>
                <c:pt idx="74">
                  <c:v>64424</c:v>
                </c:pt>
                <c:pt idx="75">
                  <c:v>66634</c:v>
                </c:pt>
                <c:pt idx="76">
                  <c:v>67298</c:v>
                </c:pt>
                <c:pt idx="77">
                  <c:v>67809</c:v>
                </c:pt>
                <c:pt idx="78">
                  <c:v>69351</c:v>
                </c:pt>
                <c:pt idx="79">
                  <c:v>71447</c:v>
                </c:pt>
                <c:pt idx="80">
                  <c:v>73220</c:v>
                </c:pt>
                <c:pt idx="81">
                  <c:v>74975</c:v>
                </c:pt>
                <c:pt idx="82">
                  <c:v>77015</c:v>
                </c:pt>
                <c:pt idx="83">
                  <c:v>77617</c:v>
                </c:pt>
                <c:pt idx="84">
                  <c:v>77893</c:v>
                </c:pt>
                <c:pt idx="85">
                  <c:v>79374</c:v>
                </c:pt>
                <c:pt idx="86">
                  <c:v>80885</c:v>
                </c:pt>
                <c:pt idx="87">
                  <c:v>82627</c:v>
                </c:pt>
                <c:pt idx="88">
                  <c:v>84487</c:v>
                </c:pt>
                <c:pt idx="89">
                  <c:v>86736</c:v>
                </c:pt>
                <c:pt idx="90">
                  <c:v>87208</c:v>
                </c:pt>
                <c:pt idx="91">
                  <c:v>87654</c:v>
                </c:pt>
                <c:pt idx="92">
                  <c:v>89381</c:v>
                </c:pt>
                <c:pt idx="93">
                  <c:v>91389</c:v>
                </c:pt>
                <c:pt idx="94">
                  <c:v>93491</c:v>
                </c:pt>
                <c:pt idx="95">
                  <c:v>95966</c:v>
                </c:pt>
                <c:pt idx="96">
                  <c:v>96864</c:v>
                </c:pt>
                <c:pt idx="97">
                  <c:v>97505</c:v>
                </c:pt>
                <c:pt idx="98">
                  <c:v>98038</c:v>
                </c:pt>
                <c:pt idx="99">
                  <c:v>98436</c:v>
                </c:pt>
                <c:pt idx="100">
                  <c:v>100322</c:v>
                </c:pt>
                <c:pt idx="101">
                  <c:v>102075</c:v>
                </c:pt>
                <c:pt idx="102">
                  <c:v>104627</c:v>
                </c:pt>
                <c:pt idx="103">
                  <c:v>107703</c:v>
                </c:pt>
                <c:pt idx="104">
                  <c:v>109266</c:v>
                </c:pt>
                <c:pt idx="105">
                  <c:v>110092</c:v>
                </c:pt>
                <c:pt idx="106">
                  <c:v>112464</c:v>
                </c:pt>
                <c:pt idx="107">
                  <c:v>115223</c:v>
                </c:pt>
                <c:pt idx="108">
                  <c:v>117680</c:v>
                </c:pt>
                <c:pt idx="109">
                  <c:v>120716</c:v>
                </c:pt>
                <c:pt idx="110">
                  <c:v>124931</c:v>
                </c:pt>
                <c:pt idx="111">
                  <c:v>126359</c:v>
                </c:pt>
                <c:pt idx="112">
                  <c:v>127409</c:v>
                </c:pt>
                <c:pt idx="113">
                  <c:v>130220</c:v>
                </c:pt>
                <c:pt idx="114">
                  <c:v>132679</c:v>
                </c:pt>
                <c:pt idx="115">
                  <c:v>135110</c:v>
                </c:pt>
                <c:pt idx="116">
                  <c:v>138105</c:v>
                </c:pt>
                <c:pt idx="117">
                  <c:v>141565</c:v>
                </c:pt>
                <c:pt idx="118">
                  <c:v>142521</c:v>
                </c:pt>
                <c:pt idx="119">
                  <c:v>143261</c:v>
                </c:pt>
                <c:pt idx="120">
                  <c:v>144961</c:v>
                </c:pt>
                <c:pt idx="121">
                  <c:v>146700</c:v>
                </c:pt>
                <c:pt idx="122">
                  <c:v>148829</c:v>
                </c:pt>
                <c:pt idx="123">
                  <c:v>151437</c:v>
                </c:pt>
                <c:pt idx="124">
                  <c:v>154189</c:v>
                </c:pt>
                <c:pt idx="125">
                  <c:v>154942</c:v>
                </c:pt>
                <c:pt idx="126">
                  <c:v>155550</c:v>
                </c:pt>
                <c:pt idx="127">
                  <c:v>157435</c:v>
                </c:pt>
                <c:pt idx="128">
                  <c:v>159716</c:v>
                </c:pt>
                <c:pt idx="129">
                  <c:v>161995</c:v>
                </c:pt>
                <c:pt idx="130">
                  <c:v>165004</c:v>
                </c:pt>
                <c:pt idx="131">
                  <c:v>168283</c:v>
                </c:pt>
                <c:pt idx="132">
                  <c:v>169414</c:v>
                </c:pt>
                <c:pt idx="133">
                  <c:v>170258</c:v>
                </c:pt>
                <c:pt idx="134">
                  <c:v>172661</c:v>
                </c:pt>
                <c:pt idx="135">
                  <c:v>175228</c:v>
                </c:pt>
                <c:pt idx="136">
                  <c:v>177748</c:v>
                </c:pt>
                <c:pt idx="137">
                  <c:v>180469</c:v>
                </c:pt>
                <c:pt idx="138">
                  <c:v>183091</c:v>
                </c:pt>
                <c:pt idx="139">
                  <c:v>183994</c:v>
                </c:pt>
                <c:pt idx="140">
                  <c:v>184653</c:v>
                </c:pt>
                <c:pt idx="141">
                  <c:v>187677</c:v>
                </c:pt>
                <c:pt idx="142">
                  <c:v>195121</c:v>
                </c:pt>
                <c:pt idx="143">
                  <c:v>209719</c:v>
                </c:pt>
                <c:pt idx="144">
                  <c:v>229131</c:v>
                </c:pt>
                <c:pt idx="145">
                  <c:v>246213</c:v>
                </c:pt>
                <c:pt idx="146">
                  <c:v>256334</c:v>
                </c:pt>
                <c:pt idx="147">
                  <c:v>262724</c:v>
                </c:pt>
                <c:pt idx="148">
                  <c:v>279556</c:v>
                </c:pt>
                <c:pt idx="149">
                  <c:v>297544</c:v>
                </c:pt>
                <c:pt idx="150">
                  <c:v>319088</c:v>
                </c:pt>
                <c:pt idx="151">
                  <c:v>338551</c:v>
                </c:pt>
                <c:pt idx="152">
                  <c:v>359191</c:v>
                </c:pt>
                <c:pt idx="153">
                  <c:v>369842</c:v>
                </c:pt>
                <c:pt idx="154">
                  <c:v>378989</c:v>
                </c:pt>
                <c:pt idx="155">
                  <c:v>398325</c:v>
                </c:pt>
                <c:pt idx="156">
                  <c:v>416779</c:v>
                </c:pt>
                <c:pt idx="157">
                  <c:v>432930</c:v>
                </c:pt>
                <c:pt idx="158">
                  <c:v>445850</c:v>
                </c:pt>
                <c:pt idx="159">
                  <c:v>461988</c:v>
                </c:pt>
                <c:pt idx="160">
                  <c:v>468280</c:v>
                </c:pt>
                <c:pt idx="161">
                  <c:v>472592</c:v>
                </c:pt>
                <c:pt idx="162">
                  <c:v>483440</c:v>
                </c:pt>
                <c:pt idx="163">
                  <c:v>493073</c:v>
                </c:pt>
                <c:pt idx="164">
                  <c:v>501379</c:v>
                </c:pt>
                <c:pt idx="165">
                  <c:v>508868</c:v>
                </c:pt>
                <c:pt idx="166">
                  <c:v>517306</c:v>
                </c:pt>
                <c:pt idx="167">
                  <c:v>521934</c:v>
                </c:pt>
                <c:pt idx="168">
                  <c:v>524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3BA-4B78-8658-BD29E9C67F23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50–54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8:$FN$8</c:f>
              <c:numCache>
                <c:formatCode>General</c:formatCode>
                <c:ptCount val="169"/>
                <c:pt idx="0">
                  <c:v>142</c:v>
                </c:pt>
                <c:pt idx="1">
                  <c:v>384</c:v>
                </c:pt>
                <c:pt idx="2">
                  <c:v>741</c:v>
                </c:pt>
                <c:pt idx="3">
                  <c:v>1107</c:v>
                </c:pt>
                <c:pt idx="4">
                  <c:v>1227</c:v>
                </c:pt>
                <c:pt idx="5">
                  <c:v>1260</c:v>
                </c:pt>
                <c:pt idx="6">
                  <c:v>1404</c:v>
                </c:pt>
                <c:pt idx="7">
                  <c:v>1515</c:v>
                </c:pt>
                <c:pt idx="8">
                  <c:v>1928</c:v>
                </c:pt>
                <c:pt idx="9">
                  <c:v>2494</c:v>
                </c:pt>
                <c:pt idx="10">
                  <c:v>3210</c:v>
                </c:pt>
                <c:pt idx="11">
                  <c:v>4133</c:v>
                </c:pt>
                <c:pt idx="12">
                  <c:v>5250</c:v>
                </c:pt>
                <c:pt idx="13">
                  <c:v>5443</c:v>
                </c:pt>
                <c:pt idx="14">
                  <c:v>5630</c:v>
                </c:pt>
                <c:pt idx="15">
                  <c:v>6695</c:v>
                </c:pt>
                <c:pt idx="16">
                  <c:v>8012</c:v>
                </c:pt>
                <c:pt idx="17">
                  <c:v>9442</c:v>
                </c:pt>
                <c:pt idx="18">
                  <c:v>10946</c:v>
                </c:pt>
                <c:pt idx="19">
                  <c:v>12392</c:v>
                </c:pt>
                <c:pt idx="20">
                  <c:v>12604</c:v>
                </c:pt>
                <c:pt idx="21">
                  <c:v>12765</c:v>
                </c:pt>
                <c:pt idx="22">
                  <c:v>13875</c:v>
                </c:pt>
                <c:pt idx="23">
                  <c:v>15017</c:v>
                </c:pt>
                <c:pt idx="24">
                  <c:v>16182</c:v>
                </c:pt>
                <c:pt idx="25">
                  <c:v>17293</c:v>
                </c:pt>
                <c:pt idx="26">
                  <c:v>18092</c:v>
                </c:pt>
                <c:pt idx="27">
                  <c:v>18301</c:v>
                </c:pt>
                <c:pt idx="28">
                  <c:v>18451</c:v>
                </c:pt>
                <c:pt idx="29">
                  <c:v>19158</c:v>
                </c:pt>
                <c:pt idx="30">
                  <c:v>20179</c:v>
                </c:pt>
                <c:pt idx="31">
                  <c:v>21184</c:v>
                </c:pt>
                <c:pt idx="32">
                  <c:v>22182</c:v>
                </c:pt>
                <c:pt idx="33">
                  <c:v>23401</c:v>
                </c:pt>
                <c:pt idx="34">
                  <c:v>23519</c:v>
                </c:pt>
                <c:pt idx="35">
                  <c:v>23649</c:v>
                </c:pt>
                <c:pt idx="36">
                  <c:v>24689</c:v>
                </c:pt>
                <c:pt idx="37">
                  <c:v>25964</c:v>
                </c:pt>
                <c:pt idx="38">
                  <c:v>27361</c:v>
                </c:pt>
                <c:pt idx="39">
                  <c:v>28906</c:v>
                </c:pt>
                <c:pt idx="40">
                  <c:v>30294</c:v>
                </c:pt>
                <c:pt idx="41">
                  <c:v>30450</c:v>
                </c:pt>
                <c:pt idx="42">
                  <c:v>30574</c:v>
                </c:pt>
                <c:pt idx="43">
                  <c:v>31626</c:v>
                </c:pt>
                <c:pt idx="44">
                  <c:v>32687</c:v>
                </c:pt>
                <c:pt idx="45">
                  <c:v>33862</c:v>
                </c:pt>
                <c:pt idx="46">
                  <c:v>35108</c:v>
                </c:pt>
                <c:pt idx="47">
                  <c:v>36266</c:v>
                </c:pt>
                <c:pt idx="48">
                  <c:v>36451</c:v>
                </c:pt>
                <c:pt idx="49">
                  <c:v>36535</c:v>
                </c:pt>
                <c:pt idx="50">
                  <c:v>37298</c:v>
                </c:pt>
                <c:pt idx="51">
                  <c:v>38086</c:v>
                </c:pt>
                <c:pt idx="52">
                  <c:v>38991</c:v>
                </c:pt>
                <c:pt idx="53">
                  <c:v>39936</c:v>
                </c:pt>
                <c:pt idx="54">
                  <c:v>40840</c:v>
                </c:pt>
                <c:pt idx="55">
                  <c:v>40930</c:v>
                </c:pt>
                <c:pt idx="56">
                  <c:v>40975</c:v>
                </c:pt>
                <c:pt idx="57">
                  <c:v>41652</c:v>
                </c:pt>
                <c:pt idx="58">
                  <c:v>42546</c:v>
                </c:pt>
                <c:pt idx="59">
                  <c:v>43479</c:v>
                </c:pt>
                <c:pt idx="60">
                  <c:v>44547</c:v>
                </c:pt>
                <c:pt idx="61">
                  <c:v>45540</c:v>
                </c:pt>
                <c:pt idx="62">
                  <c:v>45648</c:v>
                </c:pt>
                <c:pt idx="63">
                  <c:v>45810</c:v>
                </c:pt>
                <c:pt idx="64">
                  <c:v>46989</c:v>
                </c:pt>
                <c:pt idx="65">
                  <c:v>48783</c:v>
                </c:pt>
                <c:pt idx="66">
                  <c:v>50715</c:v>
                </c:pt>
                <c:pt idx="67">
                  <c:v>52453</c:v>
                </c:pt>
                <c:pt idx="68">
                  <c:v>54122</c:v>
                </c:pt>
                <c:pt idx="69">
                  <c:v>54867</c:v>
                </c:pt>
                <c:pt idx="70">
                  <c:v>55613</c:v>
                </c:pt>
                <c:pt idx="71">
                  <c:v>57253</c:v>
                </c:pt>
                <c:pt idx="72">
                  <c:v>59558</c:v>
                </c:pt>
                <c:pt idx="73">
                  <c:v>61425</c:v>
                </c:pt>
                <c:pt idx="74">
                  <c:v>63610</c:v>
                </c:pt>
                <c:pt idx="75">
                  <c:v>65623</c:v>
                </c:pt>
                <c:pt idx="76">
                  <c:v>66394</c:v>
                </c:pt>
                <c:pt idx="77">
                  <c:v>67011</c:v>
                </c:pt>
                <c:pt idx="78">
                  <c:v>68394</c:v>
                </c:pt>
                <c:pt idx="79">
                  <c:v>70693</c:v>
                </c:pt>
                <c:pt idx="80">
                  <c:v>72731</c:v>
                </c:pt>
                <c:pt idx="81">
                  <c:v>74860</c:v>
                </c:pt>
                <c:pt idx="82">
                  <c:v>77108</c:v>
                </c:pt>
                <c:pt idx="83">
                  <c:v>78111</c:v>
                </c:pt>
                <c:pt idx="84">
                  <c:v>78532</c:v>
                </c:pt>
                <c:pt idx="85">
                  <c:v>80276</c:v>
                </c:pt>
                <c:pt idx="86">
                  <c:v>82074</c:v>
                </c:pt>
                <c:pt idx="87">
                  <c:v>83892</c:v>
                </c:pt>
                <c:pt idx="88">
                  <c:v>85667</c:v>
                </c:pt>
                <c:pt idx="89">
                  <c:v>87795</c:v>
                </c:pt>
                <c:pt idx="90">
                  <c:v>88303</c:v>
                </c:pt>
                <c:pt idx="91">
                  <c:v>88784</c:v>
                </c:pt>
                <c:pt idx="92">
                  <c:v>90498</c:v>
                </c:pt>
                <c:pt idx="93">
                  <c:v>92884</c:v>
                </c:pt>
                <c:pt idx="94">
                  <c:v>95039</c:v>
                </c:pt>
                <c:pt idx="95">
                  <c:v>97561</c:v>
                </c:pt>
                <c:pt idx="96">
                  <c:v>98463</c:v>
                </c:pt>
                <c:pt idx="97">
                  <c:v>99163</c:v>
                </c:pt>
                <c:pt idx="98">
                  <c:v>99728</c:v>
                </c:pt>
                <c:pt idx="99">
                  <c:v>100245</c:v>
                </c:pt>
                <c:pt idx="100">
                  <c:v>102488</c:v>
                </c:pt>
                <c:pt idx="101">
                  <c:v>104673</c:v>
                </c:pt>
                <c:pt idx="102">
                  <c:v>107372</c:v>
                </c:pt>
                <c:pt idx="103">
                  <c:v>110558</c:v>
                </c:pt>
                <c:pt idx="104">
                  <c:v>111830</c:v>
                </c:pt>
                <c:pt idx="105">
                  <c:v>112717</c:v>
                </c:pt>
                <c:pt idx="106">
                  <c:v>115344</c:v>
                </c:pt>
                <c:pt idx="107">
                  <c:v>118463</c:v>
                </c:pt>
                <c:pt idx="108">
                  <c:v>121448</c:v>
                </c:pt>
                <c:pt idx="109">
                  <c:v>124598</c:v>
                </c:pt>
                <c:pt idx="110">
                  <c:v>128599</c:v>
                </c:pt>
                <c:pt idx="111">
                  <c:v>130418</c:v>
                </c:pt>
                <c:pt idx="112">
                  <c:v>131281</c:v>
                </c:pt>
                <c:pt idx="113">
                  <c:v>134250</c:v>
                </c:pt>
                <c:pt idx="114">
                  <c:v>136976</c:v>
                </c:pt>
                <c:pt idx="115">
                  <c:v>139685</c:v>
                </c:pt>
                <c:pt idx="116">
                  <c:v>142828</c:v>
                </c:pt>
                <c:pt idx="117">
                  <c:v>146165</c:v>
                </c:pt>
                <c:pt idx="118">
                  <c:v>147069</c:v>
                </c:pt>
                <c:pt idx="119">
                  <c:v>147777</c:v>
                </c:pt>
                <c:pt idx="120">
                  <c:v>149519</c:v>
                </c:pt>
                <c:pt idx="121">
                  <c:v>151508</c:v>
                </c:pt>
                <c:pt idx="122">
                  <c:v>153946</c:v>
                </c:pt>
                <c:pt idx="123">
                  <c:v>156511</c:v>
                </c:pt>
                <c:pt idx="124">
                  <c:v>159329</c:v>
                </c:pt>
                <c:pt idx="125">
                  <c:v>160135</c:v>
                </c:pt>
                <c:pt idx="126">
                  <c:v>160857</c:v>
                </c:pt>
                <c:pt idx="127">
                  <c:v>163147</c:v>
                </c:pt>
                <c:pt idx="128">
                  <c:v>165803</c:v>
                </c:pt>
                <c:pt idx="129">
                  <c:v>169608</c:v>
                </c:pt>
                <c:pt idx="130">
                  <c:v>179544</c:v>
                </c:pt>
                <c:pt idx="131">
                  <c:v>191818</c:v>
                </c:pt>
                <c:pt idx="132">
                  <c:v>199409</c:v>
                </c:pt>
                <c:pt idx="133">
                  <c:v>205929</c:v>
                </c:pt>
                <c:pt idx="134">
                  <c:v>228904</c:v>
                </c:pt>
                <c:pt idx="135">
                  <c:v>252166</c:v>
                </c:pt>
                <c:pt idx="136">
                  <c:v>278077</c:v>
                </c:pt>
                <c:pt idx="137">
                  <c:v>300757</c:v>
                </c:pt>
                <c:pt idx="138">
                  <c:v>323087</c:v>
                </c:pt>
                <c:pt idx="139">
                  <c:v>331004</c:v>
                </c:pt>
                <c:pt idx="140">
                  <c:v>336998</c:v>
                </c:pt>
                <c:pt idx="141">
                  <c:v>350515</c:v>
                </c:pt>
                <c:pt idx="142">
                  <c:v>363359</c:v>
                </c:pt>
                <c:pt idx="143">
                  <c:v>375392</c:v>
                </c:pt>
                <c:pt idx="144">
                  <c:v>386275</c:v>
                </c:pt>
                <c:pt idx="145">
                  <c:v>397394</c:v>
                </c:pt>
                <c:pt idx="146">
                  <c:v>401617</c:v>
                </c:pt>
                <c:pt idx="147">
                  <c:v>404866</c:v>
                </c:pt>
                <c:pt idx="148">
                  <c:v>410816</c:v>
                </c:pt>
                <c:pt idx="149">
                  <c:v>417229</c:v>
                </c:pt>
                <c:pt idx="150">
                  <c:v>425268</c:v>
                </c:pt>
                <c:pt idx="151">
                  <c:v>432885</c:v>
                </c:pt>
                <c:pt idx="152">
                  <c:v>441267</c:v>
                </c:pt>
                <c:pt idx="153">
                  <c:v>444902</c:v>
                </c:pt>
                <c:pt idx="154">
                  <c:v>447645</c:v>
                </c:pt>
                <c:pt idx="155">
                  <c:v>453881</c:v>
                </c:pt>
                <c:pt idx="156">
                  <c:v>460081</c:v>
                </c:pt>
                <c:pt idx="157">
                  <c:v>466296</c:v>
                </c:pt>
                <c:pt idx="158">
                  <c:v>472281</c:v>
                </c:pt>
                <c:pt idx="159">
                  <c:v>479172</c:v>
                </c:pt>
                <c:pt idx="160">
                  <c:v>481657</c:v>
                </c:pt>
                <c:pt idx="161">
                  <c:v>483345</c:v>
                </c:pt>
                <c:pt idx="162">
                  <c:v>488196</c:v>
                </c:pt>
                <c:pt idx="163">
                  <c:v>492959</c:v>
                </c:pt>
                <c:pt idx="164">
                  <c:v>497596</c:v>
                </c:pt>
                <c:pt idx="165">
                  <c:v>501750</c:v>
                </c:pt>
                <c:pt idx="166">
                  <c:v>506777</c:v>
                </c:pt>
                <c:pt idx="167">
                  <c:v>508749</c:v>
                </c:pt>
                <c:pt idx="168">
                  <c:v>5099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31-4689-8D01-AE220FE5DCEE}"/>
            </c:ext>
          </c:extLst>
        </c:ser>
        <c:ser>
          <c:idx val="7"/>
          <c:order val="7"/>
          <c:tx>
            <c:strRef>
              <c:f>List1!$A$9</c:f>
              <c:strCache>
                <c:ptCount val="1"/>
                <c:pt idx="0">
                  <c:v>45–49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9:$FN$9</c:f>
              <c:numCache>
                <c:formatCode>General</c:formatCode>
                <c:ptCount val="169"/>
                <c:pt idx="0">
                  <c:v>132</c:v>
                </c:pt>
                <c:pt idx="1">
                  <c:v>407</c:v>
                </c:pt>
                <c:pt idx="2">
                  <c:v>788</c:v>
                </c:pt>
                <c:pt idx="3">
                  <c:v>1160</c:v>
                </c:pt>
                <c:pt idx="4">
                  <c:v>1291</c:v>
                </c:pt>
                <c:pt idx="5">
                  <c:v>1324</c:v>
                </c:pt>
                <c:pt idx="6">
                  <c:v>1481</c:v>
                </c:pt>
                <c:pt idx="7">
                  <c:v>1597</c:v>
                </c:pt>
                <c:pt idx="8">
                  <c:v>2069</c:v>
                </c:pt>
                <c:pt idx="9">
                  <c:v>2626</c:v>
                </c:pt>
                <c:pt idx="10">
                  <c:v>3372</c:v>
                </c:pt>
                <c:pt idx="11">
                  <c:v>4310</c:v>
                </c:pt>
                <c:pt idx="12">
                  <c:v>5494</c:v>
                </c:pt>
                <c:pt idx="13">
                  <c:v>5705</c:v>
                </c:pt>
                <c:pt idx="14">
                  <c:v>5899</c:v>
                </c:pt>
                <c:pt idx="15">
                  <c:v>7074</c:v>
                </c:pt>
                <c:pt idx="16">
                  <c:v>8573</c:v>
                </c:pt>
                <c:pt idx="17">
                  <c:v>9961</c:v>
                </c:pt>
                <c:pt idx="18">
                  <c:v>11455</c:v>
                </c:pt>
                <c:pt idx="19">
                  <c:v>12762</c:v>
                </c:pt>
                <c:pt idx="20">
                  <c:v>12918</c:v>
                </c:pt>
                <c:pt idx="21">
                  <c:v>13073</c:v>
                </c:pt>
                <c:pt idx="22">
                  <c:v>14131</c:v>
                </c:pt>
                <c:pt idx="23">
                  <c:v>15255</c:v>
                </c:pt>
                <c:pt idx="24">
                  <c:v>16325</c:v>
                </c:pt>
                <c:pt idx="25">
                  <c:v>17316</c:v>
                </c:pt>
                <c:pt idx="26">
                  <c:v>18105</c:v>
                </c:pt>
                <c:pt idx="27">
                  <c:v>18278</c:v>
                </c:pt>
                <c:pt idx="28">
                  <c:v>18422</c:v>
                </c:pt>
                <c:pt idx="29">
                  <c:v>19209</c:v>
                </c:pt>
                <c:pt idx="30">
                  <c:v>20137</c:v>
                </c:pt>
                <c:pt idx="31">
                  <c:v>21116</c:v>
                </c:pt>
                <c:pt idx="32">
                  <c:v>22155</c:v>
                </c:pt>
                <c:pt idx="33">
                  <c:v>23443</c:v>
                </c:pt>
                <c:pt idx="34">
                  <c:v>23583</c:v>
                </c:pt>
                <c:pt idx="35">
                  <c:v>23705</c:v>
                </c:pt>
                <c:pt idx="36">
                  <c:v>24766</c:v>
                </c:pt>
                <c:pt idx="37">
                  <c:v>26176</c:v>
                </c:pt>
                <c:pt idx="38">
                  <c:v>27604</c:v>
                </c:pt>
                <c:pt idx="39">
                  <c:v>29131</c:v>
                </c:pt>
                <c:pt idx="40">
                  <c:v>30431</c:v>
                </c:pt>
                <c:pt idx="41">
                  <c:v>30573</c:v>
                </c:pt>
                <c:pt idx="42">
                  <c:v>30705</c:v>
                </c:pt>
                <c:pt idx="43">
                  <c:v>31777</c:v>
                </c:pt>
                <c:pt idx="44">
                  <c:v>32860</c:v>
                </c:pt>
                <c:pt idx="45">
                  <c:v>33990</c:v>
                </c:pt>
                <c:pt idx="46">
                  <c:v>35239</c:v>
                </c:pt>
                <c:pt idx="47">
                  <c:v>36327</c:v>
                </c:pt>
                <c:pt idx="48">
                  <c:v>36470</c:v>
                </c:pt>
                <c:pt idx="49">
                  <c:v>36516</c:v>
                </c:pt>
                <c:pt idx="50">
                  <c:v>37239</c:v>
                </c:pt>
                <c:pt idx="51">
                  <c:v>37911</c:v>
                </c:pt>
                <c:pt idx="52">
                  <c:v>38684</c:v>
                </c:pt>
                <c:pt idx="53">
                  <c:v>39539</c:v>
                </c:pt>
                <c:pt idx="54">
                  <c:v>40367</c:v>
                </c:pt>
                <c:pt idx="55">
                  <c:v>40467</c:v>
                </c:pt>
                <c:pt idx="56">
                  <c:v>40534</c:v>
                </c:pt>
                <c:pt idx="57">
                  <c:v>41103</c:v>
                </c:pt>
                <c:pt idx="58">
                  <c:v>41906</c:v>
                </c:pt>
                <c:pt idx="59">
                  <c:v>42751</c:v>
                </c:pt>
                <c:pt idx="60">
                  <c:v>43818</c:v>
                </c:pt>
                <c:pt idx="61">
                  <c:v>44762</c:v>
                </c:pt>
                <c:pt idx="62">
                  <c:v>44873</c:v>
                </c:pt>
                <c:pt idx="63">
                  <c:v>44998</c:v>
                </c:pt>
                <c:pt idx="64">
                  <c:v>46139</c:v>
                </c:pt>
                <c:pt idx="65">
                  <c:v>47688</c:v>
                </c:pt>
                <c:pt idx="66">
                  <c:v>49488</c:v>
                </c:pt>
                <c:pt idx="67">
                  <c:v>51112</c:v>
                </c:pt>
                <c:pt idx="68">
                  <c:v>52606</c:v>
                </c:pt>
                <c:pt idx="69">
                  <c:v>53135</c:v>
                </c:pt>
                <c:pt idx="70">
                  <c:v>53751</c:v>
                </c:pt>
                <c:pt idx="71">
                  <c:v>55116</c:v>
                </c:pt>
                <c:pt idx="72">
                  <c:v>57064</c:v>
                </c:pt>
                <c:pt idx="73">
                  <c:v>58655</c:v>
                </c:pt>
                <c:pt idx="74">
                  <c:v>60650</c:v>
                </c:pt>
                <c:pt idx="75">
                  <c:v>62571</c:v>
                </c:pt>
                <c:pt idx="76">
                  <c:v>63371</c:v>
                </c:pt>
                <c:pt idx="77">
                  <c:v>63829</c:v>
                </c:pt>
                <c:pt idx="78">
                  <c:v>65135</c:v>
                </c:pt>
                <c:pt idx="79">
                  <c:v>67051</c:v>
                </c:pt>
                <c:pt idx="80">
                  <c:v>68734</c:v>
                </c:pt>
                <c:pt idx="81">
                  <c:v>70413</c:v>
                </c:pt>
                <c:pt idx="82">
                  <c:v>72299</c:v>
                </c:pt>
                <c:pt idx="83">
                  <c:v>72833</c:v>
                </c:pt>
                <c:pt idx="84">
                  <c:v>73131</c:v>
                </c:pt>
                <c:pt idx="85">
                  <c:v>74613</c:v>
                </c:pt>
                <c:pt idx="86">
                  <c:v>76172</c:v>
                </c:pt>
                <c:pt idx="87">
                  <c:v>77874</c:v>
                </c:pt>
                <c:pt idx="88">
                  <c:v>79662</c:v>
                </c:pt>
                <c:pt idx="89">
                  <c:v>81664</c:v>
                </c:pt>
                <c:pt idx="90">
                  <c:v>82050</c:v>
                </c:pt>
                <c:pt idx="91">
                  <c:v>82548</c:v>
                </c:pt>
                <c:pt idx="92">
                  <c:v>84224</c:v>
                </c:pt>
                <c:pt idx="93">
                  <c:v>86559</c:v>
                </c:pt>
                <c:pt idx="94">
                  <c:v>88644</c:v>
                </c:pt>
                <c:pt idx="95">
                  <c:v>90932</c:v>
                </c:pt>
                <c:pt idx="96">
                  <c:v>91671</c:v>
                </c:pt>
                <c:pt idx="97">
                  <c:v>92307</c:v>
                </c:pt>
                <c:pt idx="98">
                  <c:v>92831</c:v>
                </c:pt>
                <c:pt idx="99">
                  <c:v>93166</c:v>
                </c:pt>
                <c:pt idx="100">
                  <c:v>95088</c:v>
                </c:pt>
                <c:pt idx="101">
                  <c:v>96958</c:v>
                </c:pt>
                <c:pt idx="102">
                  <c:v>99370</c:v>
                </c:pt>
                <c:pt idx="103">
                  <c:v>102513</c:v>
                </c:pt>
                <c:pt idx="104">
                  <c:v>103777</c:v>
                </c:pt>
                <c:pt idx="105">
                  <c:v>104515</c:v>
                </c:pt>
                <c:pt idx="106">
                  <c:v>106814</c:v>
                </c:pt>
                <c:pt idx="107">
                  <c:v>109460</c:v>
                </c:pt>
                <c:pt idx="108">
                  <c:v>112051</c:v>
                </c:pt>
                <c:pt idx="109">
                  <c:v>114887</c:v>
                </c:pt>
                <c:pt idx="110">
                  <c:v>118948</c:v>
                </c:pt>
                <c:pt idx="111">
                  <c:v>120240</c:v>
                </c:pt>
                <c:pt idx="112">
                  <c:v>121107</c:v>
                </c:pt>
                <c:pt idx="113">
                  <c:v>123635</c:v>
                </c:pt>
                <c:pt idx="114">
                  <c:v>126093</c:v>
                </c:pt>
                <c:pt idx="115">
                  <c:v>128610</c:v>
                </c:pt>
                <c:pt idx="116">
                  <c:v>131380</c:v>
                </c:pt>
                <c:pt idx="117">
                  <c:v>134253</c:v>
                </c:pt>
                <c:pt idx="118">
                  <c:v>135264</c:v>
                </c:pt>
                <c:pt idx="119">
                  <c:v>136126</c:v>
                </c:pt>
                <c:pt idx="120">
                  <c:v>137810</c:v>
                </c:pt>
                <c:pt idx="121">
                  <c:v>139801</c:v>
                </c:pt>
                <c:pt idx="122">
                  <c:v>141997</c:v>
                </c:pt>
                <c:pt idx="123">
                  <c:v>144345</c:v>
                </c:pt>
                <c:pt idx="124">
                  <c:v>146932</c:v>
                </c:pt>
                <c:pt idx="125">
                  <c:v>147608</c:v>
                </c:pt>
                <c:pt idx="126">
                  <c:v>148206</c:v>
                </c:pt>
                <c:pt idx="127">
                  <c:v>150185</c:v>
                </c:pt>
                <c:pt idx="128">
                  <c:v>152422</c:v>
                </c:pt>
                <c:pt idx="129">
                  <c:v>154910</c:v>
                </c:pt>
                <c:pt idx="130">
                  <c:v>157956</c:v>
                </c:pt>
                <c:pt idx="131">
                  <c:v>161299</c:v>
                </c:pt>
                <c:pt idx="132">
                  <c:v>162355</c:v>
                </c:pt>
                <c:pt idx="133">
                  <c:v>163109</c:v>
                </c:pt>
                <c:pt idx="134">
                  <c:v>165463</c:v>
                </c:pt>
                <c:pt idx="135">
                  <c:v>169391</c:v>
                </c:pt>
                <c:pt idx="136">
                  <c:v>178517</c:v>
                </c:pt>
                <c:pt idx="137">
                  <c:v>195173</c:v>
                </c:pt>
                <c:pt idx="138">
                  <c:v>212055</c:v>
                </c:pt>
                <c:pt idx="139">
                  <c:v>220364</c:v>
                </c:pt>
                <c:pt idx="140">
                  <c:v>227287</c:v>
                </c:pt>
                <c:pt idx="141">
                  <c:v>253306</c:v>
                </c:pt>
                <c:pt idx="142">
                  <c:v>276043</c:v>
                </c:pt>
                <c:pt idx="143">
                  <c:v>299094</c:v>
                </c:pt>
                <c:pt idx="144">
                  <c:v>318935</c:v>
                </c:pt>
                <c:pt idx="145">
                  <c:v>339222</c:v>
                </c:pt>
                <c:pt idx="146">
                  <c:v>348352</c:v>
                </c:pt>
                <c:pt idx="147">
                  <c:v>354858</c:v>
                </c:pt>
                <c:pt idx="148">
                  <c:v>366581</c:v>
                </c:pt>
                <c:pt idx="149">
                  <c:v>377181</c:v>
                </c:pt>
                <c:pt idx="150">
                  <c:v>389690</c:v>
                </c:pt>
                <c:pt idx="151">
                  <c:v>400389</c:v>
                </c:pt>
                <c:pt idx="152">
                  <c:v>412661</c:v>
                </c:pt>
                <c:pt idx="153">
                  <c:v>417924</c:v>
                </c:pt>
                <c:pt idx="154">
                  <c:v>422391</c:v>
                </c:pt>
                <c:pt idx="155">
                  <c:v>430848</c:v>
                </c:pt>
                <c:pt idx="156">
                  <c:v>439130</c:v>
                </c:pt>
                <c:pt idx="157">
                  <c:v>447306</c:v>
                </c:pt>
                <c:pt idx="158">
                  <c:v>454864</c:v>
                </c:pt>
                <c:pt idx="159">
                  <c:v>463843</c:v>
                </c:pt>
                <c:pt idx="160">
                  <c:v>467610</c:v>
                </c:pt>
                <c:pt idx="161">
                  <c:v>470040</c:v>
                </c:pt>
                <c:pt idx="162">
                  <c:v>476141</c:v>
                </c:pt>
                <c:pt idx="163">
                  <c:v>481839</c:v>
                </c:pt>
                <c:pt idx="164">
                  <c:v>487108</c:v>
                </c:pt>
                <c:pt idx="165">
                  <c:v>491982</c:v>
                </c:pt>
                <c:pt idx="166">
                  <c:v>497758</c:v>
                </c:pt>
                <c:pt idx="167">
                  <c:v>500440</c:v>
                </c:pt>
                <c:pt idx="168">
                  <c:v>501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38-475B-B3D5-6E0B100F1F34}"/>
            </c:ext>
          </c:extLst>
        </c:ser>
        <c:ser>
          <c:idx val="8"/>
          <c:order val="8"/>
          <c:tx>
            <c:strRef>
              <c:f>List1!$A$10</c:f>
              <c:strCache>
                <c:ptCount val="1"/>
                <c:pt idx="0">
                  <c:v>&lt;30</c:v>
                </c:pt>
              </c:strCache>
            </c:strRef>
          </c:tx>
          <c:spPr>
            <a:ln w="28575" cap="rnd">
              <a:solidFill>
                <a:srgbClr val="FFFFFF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10:$FN$10</c:f>
              <c:numCache>
                <c:formatCode>General</c:formatCode>
                <c:ptCount val="169"/>
                <c:pt idx="0">
                  <c:v>160</c:v>
                </c:pt>
                <c:pt idx="1">
                  <c:v>427</c:v>
                </c:pt>
                <c:pt idx="2">
                  <c:v>834</c:v>
                </c:pt>
                <c:pt idx="3">
                  <c:v>1253</c:v>
                </c:pt>
                <c:pt idx="4">
                  <c:v>1406</c:v>
                </c:pt>
                <c:pt idx="5">
                  <c:v>1427</c:v>
                </c:pt>
                <c:pt idx="6">
                  <c:v>1581</c:v>
                </c:pt>
                <c:pt idx="7">
                  <c:v>1683</c:v>
                </c:pt>
                <c:pt idx="8">
                  <c:v>2042</c:v>
                </c:pt>
                <c:pt idx="9">
                  <c:v>2530</c:v>
                </c:pt>
                <c:pt idx="10">
                  <c:v>3160</c:v>
                </c:pt>
                <c:pt idx="11">
                  <c:v>4015</c:v>
                </c:pt>
                <c:pt idx="12">
                  <c:v>4990</c:v>
                </c:pt>
                <c:pt idx="13">
                  <c:v>5142</c:v>
                </c:pt>
                <c:pt idx="14">
                  <c:v>5293</c:v>
                </c:pt>
                <c:pt idx="15">
                  <c:v>6345</c:v>
                </c:pt>
                <c:pt idx="16">
                  <c:v>7480</c:v>
                </c:pt>
                <c:pt idx="17">
                  <c:v>8510</c:v>
                </c:pt>
                <c:pt idx="18">
                  <c:v>9620</c:v>
                </c:pt>
                <c:pt idx="19">
                  <c:v>10619</c:v>
                </c:pt>
                <c:pt idx="20">
                  <c:v>10756</c:v>
                </c:pt>
                <c:pt idx="21">
                  <c:v>10946</c:v>
                </c:pt>
                <c:pt idx="22">
                  <c:v>11736</c:v>
                </c:pt>
                <c:pt idx="23">
                  <c:v>12482</c:v>
                </c:pt>
                <c:pt idx="24">
                  <c:v>13267</c:v>
                </c:pt>
                <c:pt idx="25">
                  <c:v>13991</c:v>
                </c:pt>
                <c:pt idx="26">
                  <c:v>14562</c:v>
                </c:pt>
                <c:pt idx="27">
                  <c:v>14715</c:v>
                </c:pt>
                <c:pt idx="28">
                  <c:v>14840</c:v>
                </c:pt>
                <c:pt idx="29">
                  <c:v>15490</c:v>
                </c:pt>
                <c:pt idx="30">
                  <c:v>16299</c:v>
                </c:pt>
                <c:pt idx="31">
                  <c:v>17089</c:v>
                </c:pt>
                <c:pt idx="32">
                  <c:v>17971</c:v>
                </c:pt>
                <c:pt idx="33">
                  <c:v>18903</c:v>
                </c:pt>
                <c:pt idx="34">
                  <c:v>19003</c:v>
                </c:pt>
                <c:pt idx="35">
                  <c:v>19119</c:v>
                </c:pt>
                <c:pt idx="36">
                  <c:v>20082</c:v>
                </c:pt>
                <c:pt idx="37">
                  <c:v>21161</c:v>
                </c:pt>
                <c:pt idx="38">
                  <c:v>22186</c:v>
                </c:pt>
                <c:pt idx="39">
                  <c:v>23370</c:v>
                </c:pt>
                <c:pt idx="40">
                  <c:v>24377</c:v>
                </c:pt>
                <c:pt idx="41">
                  <c:v>24495</c:v>
                </c:pt>
                <c:pt idx="42">
                  <c:v>24635</c:v>
                </c:pt>
                <c:pt idx="43">
                  <c:v>25467</c:v>
                </c:pt>
                <c:pt idx="44">
                  <c:v>26180</c:v>
                </c:pt>
                <c:pt idx="45">
                  <c:v>26880</c:v>
                </c:pt>
                <c:pt idx="46">
                  <c:v>27693</c:v>
                </c:pt>
                <c:pt idx="47">
                  <c:v>28475</c:v>
                </c:pt>
                <c:pt idx="48">
                  <c:v>28618</c:v>
                </c:pt>
                <c:pt idx="49">
                  <c:v>28654</c:v>
                </c:pt>
                <c:pt idx="50">
                  <c:v>29257</c:v>
                </c:pt>
                <c:pt idx="51">
                  <c:v>29945</c:v>
                </c:pt>
                <c:pt idx="52">
                  <c:v>30630</c:v>
                </c:pt>
                <c:pt idx="53">
                  <c:v>31247</c:v>
                </c:pt>
                <c:pt idx="54">
                  <c:v>31958</c:v>
                </c:pt>
                <c:pt idx="55">
                  <c:v>32046</c:v>
                </c:pt>
                <c:pt idx="56">
                  <c:v>32069</c:v>
                </c:pt>
                <c:pt idx="57">
                  <c:v>32678</c:v>
                </c:pt>
                <c:pt idx="58">
                  <c:v>33391</c:v>
                </c:pt>
                <c:pt idx="59">
                  <c:v>34148</c:v>
                </c:pt>
                <c:pt idx="60">
                  <c:v>35017</c:v>
                </c:pt>
                <c:pt idx="61">
                  <c:v>35929</c:v>
                </c:pt>
                <c:pt idx="62">
                  <c:v>36067</c:v>
                </c:pt>
                <c:pt idx="63">
                  <c:v>36167</c:v>
                </c:pt>
                <c:pt idx="64">
                  <c:v>36931</c:v>
                </c:pt>
                <c:pt idx="65">
                  <c:v>37867</c:v>
                </c:pt>
                <c:pt idx="66">
                  <c:v>38922</c:v>
                </c:pt>
                <c:pt idx="67">
                  <c:v>39778</c:v>
                </c:pt>
                <c:pt idx="68">
                  <c:v>40727</c:v>
                </c:pt>
                <c:pt idx="69">
                  <c:v>41081</c:v>
                </c:pt>
                <c:pt idx="70">
                  <c:v>41463</c:v>
                </c:pt>
                <c:pt idx="71">
                  <c:v>42340</c:v>
                </c:pt>
                <c:pt idx="72">
                  <c:v>43474</c:v>
                </c:pt>
                <c:pt idx="73">
                  <c:v>44856</c:v>
                </c:pt>
                <c:pt idx="74">
                  <c:v>46412</c:v>
                </c:pt>
                <c:pt idx="75">
                  <c:v>47875</c:v>
                </c:pt>
                <c:pt idx="76">
                  <c:v>48309</c:v>
                </c:pt>
                <c:pt idx="77">
                  <c:v>48674</c:v>
                </c:pt>
                <c:pt idx="78">
                  <c:v>49936</c:v>
                </c:pt>
                <c:pt idx="79">
                  <c:v>51351</c:v>
                </c:pt>
                <c:pt idx="80">
                  <c:v>52732</c:v>
                </c:pt>
                <c:pt idx="81">
                  <c:v>54043</c:v>
                </c:pt>
                <c:pt idx="82">
                  <c:v>55683</c:v>
                </c:pt>
                <c:pt idx="83">
                  <c:v>56248</c:v>
                </c:pt>
                <c:pt idx="84">
                  <c:v>56530</c:v>
                </c:pt>
                <c:pt idx="85">
                  <c:v>57522</c:v>
                </c:pt>
                <c:pt idx="86">
                  <c:v>58730</c:v>
                </c:pt>
                <c:pt idx="87">
                  <c:v>59940</c:v>
                </c:pt>
                <c:pt idx="88">
                  <c:v>61226</c:v>
                </c:pt>
                <c:pt idx="89">
                  <c:v>62819</c:v>
                </c:pt>
                <c:pt idx="90">
                  <c:v>63182</c:v>
                </c:pt>
                <c:pt idx="91">
                  <c:v>63466</c:v>
                </c:pt>
                <c:pt idx="92">
                  <c:v>64537</c:v>
                </c:pt>
                <c:pt idx="93">
                  <c:v>65985</c:v>
                </c:pt>
                <c:pt idx="94">
                  <c:v>67639</c:v>
                </c:pt>
                <c:pt idx="95">
                  <c:v>69484</c:v>
                </c:pt>
                <c:pt idx="96">
                  <c:v>70037</c:v>
                </c:pt>
                <c:pt idx="97">
                  <c:v>70530</c:v>
                </c:pt>
                <c:pt idx="98">
                  <c:v>70829</c:v>
                </c:pt>
                <c:pt idx="99">
                  <c:v>71111</c:v>
                </c:pt>
                <c:pt idx="100">
                  <c:v>72727</c:v>
                </c:pt>
                <c:pt idx="101">
                  <c:v>74007</c:v>
                </c:pt>
                <c:pt idx="102">
                  <c:v>75944</c:v>
                </c:pt>
                <c:pt idx="103">
                  <c:v>78442</c:v>
                </c:pt>
                <c:pt idx="104">
                  <c:v>79285</c:v>
                </c:pt>
                <c:pt idx="105">
                  <c:v>79885</c:v>
                </c:pt>
                <c:pt idx="106">
                  <c:v>81352</c:v>
                </c:pt>
                <c:pt idx="107">
                  <c:v>82855</c:v>
                </c:pt>
                <c:pt idx="108">
                  <c:v>84338</c:v>
                </c:pt>
                <c:pt idx="109">
                  <c:v>86319</c:v>
                </c:pt>
                <c:pt idx="110">
                  <c:v>88618</c:v>
                </c:pt>
                <c:pt idx="111">
                  <c:v>89510</c:v>
                </c:pt>
                <c:pt idx="112">
                  <c:v>90249</c:v>
                </c:pt>
                <c:pt idx="113">
                  <c:v>92044</c:v>
                </c:pt>
                <c:pt idx="114">
                  <c:v>93684</c:v>
                </c:pt>
                <c:pt idx="115">
                  <c:v>95418</c:v>
                </c:pt>
                <c:pt idx="116">
                  <c:v>97574</c:v>
                </c:pt>
                <c:pt idx="117">
                  <c:v>100135</c:v>
                </c:pt>
                <c:pt idx="118">
                  <c:v>101137</c:v>
                </c:pt>
                <c:pt idx="119">
                  <c:v>101732</c:v>
                </c:pt>
                <c:pt idx="120">
                  <c:v>103154</c:v>
                </c:pt>
                <c:pt idx="121">
                  <c:v>104481</c:v>
                </c:pt>
                <c:pt idx="122">
                  <c:v>106080</c:v>
                </c:pt>
                <c:pt idx="123">
                  <c:v>107735</c:v>
                </c:pt>
                <c:pt idx="124">
                  <c:v>109729</c:v>
                </c:pt>
                <c:pt idx="125">
                  <c:v>110212</c:v>
                </c:pt>
                <c:pt idx="126">
                  <c:v>110706</c:v>
                </c:pt>
                <c:pt idx="127">
                  <c:v>112010</c:v>
                </c:pt>
                <c:pt idx="128">
                  <c:v>113413</c:v>
                </c:pt>
                <c:pt idx="129">
                  <c:v>115063</c:v>
                </c:pt>
                <c:pt idx="130">
                  <c:v>116862</c:v>
                </c:pt>
                <c:pt idx="131">
                  <c:v>119223</c:v>
                </c:pt>
                <c:pt idx="132">
                  <c:v>120041</c:v>
                </c:pt>
                <c:pt idx="133">
                  <c:v>120682</c:v>
                </c:pt>
                <c:pt idx="134">
                  <c:v>122336</c:v>
                </c:pt>
                <c:pt idx="135">
                  <c:v>124106</c:v>
                </c:pt>
                <c:pt idx="136">
                  <c:v>125869</c:v>
                </c:pt>
                <c:pt idx="137">
                  <c:v>127947</c:v>
                </c:pt>
                <c:pt idx="138">
                  <c:v>129947</c:v>
                </c:pt>
                <c:pt idx="139">
                  <c:v>131010</c:v>
                </c:pt>
                <c:pt idx="140">
                  <c:v>131632</c:v>
                </c:pt>
                <c:pt idx="141">
                  <c:v>133132</c:v>
                </c:pt>
                <c:pt idx="142">
                  <c:v>134915</c:v>
                </c:pt>
                <c:pt idx="143">
                  <c:v>136701</c:v>
                </c:pt>
                <c:pt idx="144">
                  <c:v>139077</c:v>
                </c:pt>
                <c:pt idx="145">
                  <c:v>141687</c:v>
                </c:pt>
                <c:pt idx="146">
                  <c:v>142661</c:v>
                </c:pt>
                <c:pt idx="147">
                  <c:v>143432</c:v>
                </c:pt>
                <c:pt idx="148">
                  <c:v>145309</c:v>
                </c:pt>
                <c:pt idx="149">
                  <c:v>147330</c:v>
                </c:pt>
                <c:pt idx="150">
                  <c:v>149905</c:v>
                </c:pt>
                <c:pt idx="151">
                  <c:v>152793</c:v>
                </c:pt>
                <c:pt idx="152">
                  <c:v>156151</c:v>
                </c:pt>
                <c:pt idx="153">
                  <c:v>157440</c:v>
                </c:pt>
                <c:pt idx="154">
                  <c:v>158468</c:v>
                </c:pt>
                <c:pt idx="155">
                  <c:v>161279</c:v>
                </c:pt>
                <c:pt idx="156">
                  <c:v>164356</c:v>
                </c:pt>
                <c:pt idx="157">
                  <c:v>167762</c:v>
                </c:pt>
                <c:pt idx="158">
                  <c:v>171446</c:v>
                </c:pt>
                <c:pt idx="159">
                  <c:v>178098</c:v>
                </c:pt>
                <c:pt idx="160">
                  <c:v>182275</c:v>
                </c:pt>
                <c:pt idx="161">
                  <c:v>186716</c:v>
                </c:pt>
                <c:pt idx="162">
                  <c:v>196962</c:v>
                </c:pt>
                <c:pt idx="163">
                  <c:v>210631</c:v>
                </c:pt>
                <c:pt idx="164">
                  <c:v>224830</c:v>
                </c:pt>
                <c:pt idx="165">
                  <c:v>239715</c:v>
                </c:pt>
                <c:pt idx="166">
                  <c:v>253286</c:v>
                </c:pt>
                <c:pt idx="167">
                  <c:v>262592</c:v>
                </c:pt>
                <c:pt idx="168">
                  <c:v>272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87-472F-A228-842E61EA8DB2}"/>
            </c:ext>
          </c:extLst>
        </c:ser>
        <c:ser>
          <c:idx val="9"/>
          <c:order val="9"/>
          <c:tx>
            <c:strRef>
              <c:f>List1!$A$11</c:f>
              <c:strCache>
                <c:ptCount val="1"/>
                <c:pt idx="0">
                  <c:v>35–39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11:$FN$11</c:f>
              <c:numCache>
                <c:formatCode>General</c:formatCode>
                <c:ptCount val="169"/>
                <c:pt idx="0">
                  <c:v>93</c:v>
                </c:pt>
                <c:pt idx="1">
                  <c:v>258</c:v>
                </c:pt>
                <c:pt idx="2">
                  <c:v>513</c:v>
                </c:pt>
                <c:pt idx="3">
                  <c:v>761</c:v>
                </c:pt>
                <c:pt idx="4">
                  <c:v>852</c:v>
                </c:pt>
                <c:pt idx="5">
                  <c:v>872</c:v>
                </c:pt>
                <c:pt idx="6">
                  <c:v>972</c:v>
                </c:pt>
                <c:pt idx="7">
                  <c:v>1036</c:v>
                </c:pt>
                <c:pt idx="8">
                  <c:v>1318</c:v>
                </c:pt>
                <c:pt idx="9">
                  <c:v>1688</c:v>
                </c:pt>
                <c:pt idx="10">
                  <c:v>2119</c:v>
                </c:pt>
                <c:pt idx="11">
                  <c:v>2689</c:v>
                </c:pt>
                <c:pt idx="12">
                  <c:v>3360</c:v>
                </c:pt>
                <c:pt idx="13">
                  <c:v>3505</c:v>
                </c:pt>
                <c:pt idx="14">
                  <c:v>3618</c:v>
                </c:pt>
                <c:pt idx="15">
                  <c:v>4291</c:v>
                </c:pt>
                <c:pt idx="16">
                  <c:v>5181</c:v>
                </c:pt>
                <c:pt idx="17">
                  <c:v>6049</c:v>
                </c:pt>
                <c:pt idx="18">
                  <c:v>6909</c:v>
                </c:pt>
                <c:pt idx="19">
                  <c:v>7661</c:v>
                </c:pt>
                <c:pt idx="20">
                  <c:v>7757</c:v>
                </c:pt>
                <c:pt idx="21">
                  <c:v>7849</c:v>
                </c:pt>
                <c:pt idx="22">
                  <c:v>8464</c:v>
                </c:pt>
                <c:pt idx="23">
                  <c:v>9020</c:v>
                </c:pt>
                <c:pt idx="24">
                  <c:v>9615</c:v>
                </c:pt>
                <c:pt idx="25">
                  <c:v>10148</c:v>
                </c:pt>
                <c:pt idx="26">
                  <c:v>10576</c:v>
                </c:pt>
                <c:pt idx="27">
                  <c:v>10678</c:v>
                </c:pt>
                <c:pt idx="28">
                  <c:v>10752</c:v>
                </c:pt>
                <c:pt idx="29">
                  <c:v>11202</c:v>
                </c:pt>
                <c:pt idx="30">
                  <c:v>11752</c:v>
                </c:pt>
                <c:pt idx="31">
                  <c:v>12310</c:v>
                </c:pt>
                <c:pt idx="32">
                  <c:v>12997</c:v>
                </c:pt>
                <c:pt idx="33">
                  <c:v>13646</c:v>
                </c:pt>
                <c:pt idx="34">
                  <c:v>13715</c:v>
                </c:pt>
                <c:pt idx="35">
                  <c:v>13802</c:v>
                </c:pt>
                <c:pt idx="36">
                  <c:v>14417</c:v>
                </c:pt>
                <c:pt idx="37">
                  <c:v>15243</c:v>
                </c:pt>
                <c:pt idx="38">
                  <c:v>16074</c:v>
                </c:pt>
                <c:pt idx="39">
                  <c:v>16976</c:v>
                </c:pt>
                <c:pt idx="40">
                  <c:v>17715</c:v>
                </c:pt>
                <c:pt idx="41">
                  <c:v>17801</c:v>
                </c:pt>
                <c:pt idx="42">
                  <c:v>17869</c:v>
                </c:pt>
                <c:pt idx="43">
                  <c:v>18490</c:v>
                </c:pt>
                <c:pt idx="44">
                  <c:v>19050</c:v>
                </c:pt>
                <c:pt idx="45">
                  <c:v>19631</c:v>
                </c:pt>
                <c:pt idx="46">
                  <c:v>20301</c:v>
                </c:pt>
                <c:pt idx="47">
                  <c:v>20858</c:v>
                </c:pt>
                <c:pt idx="48">
                  <c:v>20927</c:v>
                </c:pt>
                <c:pt idx="49">
                  <c:v>20956</c:v>
                </c:pt>
                <c:pt idx="50">
                  <c:v>21367</c:v>
                </c:pt>
                <c:pt idx="51">
                  <c:v>21757</c:v>
                </c:pt>
                <c:pt idx="52">
                  <c:v>22186</c:v>
                </c:pt>
                <c:pt idx="53">
                  <c:v>22667</c:v>
                </c:pt>
                <c:pt idx="54">
                  <c:v>23139</c:v>
                </c:pt>
                <c:pt idx="55">
                  <c:v>23198</c:v>
                </c:pt>
                <c:pt idx="56">
                  <c:v>23216</c:v>
                </c:pt>
                <c:pt idx="57">
                  <c:v>23551</c:v>
                </c:pt>
                <c:pt idx="58">
                  <c:v>24076</c:v>
                </c:pt>
                <c:pt idx="59">
                  <c:v>24543</c:v>
                </c:pt>
                <c:pt idx="60">
                  <c:v>25185</c:v>
                </c:pt>
                <c:pt idx="61">
                  <c:v>25722</c:v>
                </c:pt>
                <c:pt idx="62">
                  <c:v>25782</c:v>
                </c:pt>
                <c:pt idx="63">
                  <c:v>25827</c:v>
                </c:pt>
                <c:pt idx="64">
                  <c:v>26480</c:v>
                </c:pt>
                <c:pt idx="65">
                  <c:v>27253</c:v>
                </c:pt>
                <c:pt idx="66">
                  <c:v>28107</c:v>
                </c:pt>
                <c:pt idx="67">
                  <c:v>28921</c:v>
                </c:pt>
                <c:pt idx="68">
                  <c:v>29669</c:v>
                </c:pt>
                <c:pt idx="69">
                  <c:v>29951</c:v>
                </c:pt>
                <c:pt idx="70">
                  <c:v>30229</c:v>
                </c:pt>
                <c:pt idx="71">
                  <c:v>30954</c:v>
                </c:pt>
                <c:pt idx="72">
                  <c:v>31796</c:v>
                </c:pt>
                <c:pt idx="73">
                  <c:v>32771</c:v>
                </c:pt>
                <c:pt idx="74">
                  <c:v>33845</c:v>
                </c:pt>
                <c:pt idx="75">
                  <c:v>34798</c:v>
                </c:pt>
                <c:pt idx="76">
                  <c:v>35093</c:v>
                </c:pt>
                <c:pt idx="77">
                  <c:v>35316</c:v>
                </c:pt>
                <c:pt idx="78">
                  <c:v>35994</c:v>
                </c:pt>
                <c:pt idx="79">
                  <c:v>36946</c:v>
                </c:pt>
                <c:pt idx="80">
                  <c:v>37829</c:v>
                </c:pt>
                <c:pt idx="81">
                  <c:v>38776</c:v>
                </c:pt>
                <c:pt idx="82">
                  <c:v>39844</c:v>
                </c:pt>
                <c:pt idx="83">
                  <c:v>40172</c:v>
                </c:pt>
                <c:pt idx="84">
                  <c:v>40305</c:v>
                </c:pt>
                <c:pt idx="85">
                  <c:v>40990</c:v>
                </c:pt>
                <c:pt idx="86">
                  <c:v>41794</c:v>
                </c:pt>
                <c:pt idx="87">
                  <c:v>42606</c:v>
                </c:pt>
                <c:pt idx="88">
                  <c:v>43485</c:v>
                </c:pt>
                <c:pt idx="89">
                  <c:v>44627</c:v>
                </c:pt>
                <c:pt idx="90">
                  <c:v>44899</c:v>
                </c:pt>
                <c:pt idx="91">
                  <c:v>45110</c:v>
                </c:pt>
                <c:pt idx="92">
                  <c:v>45983</c:v>
                </c:pt>
                <c:pt idx="93">
                  <c:v>46965</c:v>
                </c:pt>
                <c:pt idx="94">
                  <c:v>48069</c:v>
                </c:pt>
                <c:pt idx="95">
                  <c:v>49391</c:v>
                </c:pt>
                <c:pt idx="96">
                  <c:v>49804</c:v>
                </c:pt>
                <c:pt idx="97">
                  <c:v>50137</c:v>
                </c:pt>
                <c:pt idx="98">
                  <c:v>50358</c:v>
                </c:pt>
                <c:pt idx="99">
                  <c:v>50558</c:v>
                </c:pt>
                <c:pt idx="100">
                  <c:v>51527</c:v>
                </c:pt>
                <c:pt idx="101">
                  <c:v>52372</c:v>
                </c:pt>
                <c:pt idx="102">
                  <c:v>53777</c:v>
                </c:pt>
                <c:pt idx="103">
                  <c:v>55372</c:v>
                </c:pt>
                <c:pt idx="104">
                  <c:v>56215</c:v>
                </c:pt>
                <c:pt idx="105">
                  <c:v>56579</c:v>
                </c:pt>
                <c:pt idx="106">
                  <c:v>57686</c:v>
                </c:pt>
                <c:pt idx="107">
                  <c:v>58877</c:v>
                </c:pt>
                <c:pt idx="108">
                  <c:v>60016</c:v>
                </c:pt>
                <c:pt idx="109">
                  <c:v>61418</c:v>
                </c:pt>
                <c:pt idx="110">
                  <c:v>63367</c:v>
                </c:pt>
                <c:pt idx="111">
                  <c:v>64200</c:v>
                </c:pt>
                <c:pt idx="112">
                  <c:v>64810</c:v>
                </c:pt>
                <c:pt idx="113">
                  <c:v>66185</c:v>
                </c:pt>
                <c:pt idx="114">
                  <c:v>67455</c:v>
                </c:pt>
                <c:pt idx="115">
                  <c:v>68763</c:v>
                </c:pt>
                <c:pt idx="116">
                  <c:v>70215</c:v>
                </c:pt>
                <c:pt idx="117">
                  <c:v>72099</c:v>
                </c:pt>
                <c:pt idx="118">
                  <c:v>72593</c:v>
                </c:pt>
                <c:pt idx="119">
                  <c:v>72961</c:v>
                </c:pt>
                <c:pt idx="120">
                  <c:v>73954</c:v>
                </c:pt>
                <c:pt idx="121">
                  <c:v>74880</c:v>
                </c:pt>
                <c:pt idx="122">
                  <c:v>75977</c:v>
                </c:pt>
                <c:pt idx="123">
                  <c:v>77334</c:v>
                </c:pt>
                <c:pt idx="124">
                  <c:v>78745</c:v>
                </c:pt>
                <c:pt idx="125">
                  <c:v>79111</c:v>
                </c:pt>
                <c:pt idx="126">
                  <c:v>79428</c:v>
                </c:pt>
                <c:pt idx="127">
                  <c:v>80379</c:v>
                </c:pt>
                <c:pt idx="128">
                  <c:v>81475</c:v>
                </c:pt>
                <c:pt idx="129">
                  <c:v>82763</c:v>
                </c:pt>
                <c:pt idx="130">
                  <c:v>84222</c:v>
                </c:pt>
                <c:pt idx="131">
                  <c:v>85908</c:v>
                </c:pt>
                <c:pt idx="132">
                  <c:v>86518</c:v>
                </c:pt>
                <c:pt idx="133">
                  <c:v>86950</c:v>
                </c:pt>
                <c:pt idx="134">
                  <c:v>88338</c:v>
                </c:pt>
                <c:pt idx="135">
                  <c:v>89693</c:v>
                </c:pt>
                <c:pt idx="136">
                  <c:v>90891</c:v>
                </c:pt>
                <c:pt idx="137">
                  <c:v>92281</c:v>
                </c:pt>
                <c:pt idx="138">
                  <c:v>93604</c:v>
                </c:pt>
                <c:pt idx="139">
                  <c:v>94153</c:v>
                </c:pt>
                <c:pt idx="140">
                  <c:v>94509</c:v>
                </c:pt>
                <c:pt idx="141">
                  <c:v>95519</c:v>
                </c:pt>
                <c:pt idx="142">
                  <c:v>96693</c:v>
                </c:pt>
                <c:pt idx="143">
                  <c:v>97942</c:v>
                </c:pt>
                <c:pt idx="144">
                  <c:v>99426</c:v>
                </c:pt>
                <c:pt idx="145">
                  <c:v>101180</c:v>
                </c:pt>
                <c:pt idx="146">
                  <c:v>101785</c:v>
                </c:pt>
                <c:pt idx="147">
                  <c:v>102234</c:v>
                </c:pt>
                <c:pt idx="148">
                  <c:v>104210</c:v>
                </c:pt>
                <c:pt idx="149">
                  <c:v>108852</c:v>
                </c:pt>
                <c:pt idx="150">
                  <c:v>116387</c:v>
                </c:pt>
                <c:pt idx="151">
                  <c:v>125038</c:v>
                </c:pt>
                <c:pt idx="152">
                  <c:v>133767</c:v>
                </c:pt>
                <c:pt idx="153">
                  <c:v>137347</c:v>
                </c:pt>
                <c:pt idx="154">
                  <c:v>139636</c:v>
                </c:pt>
                <c:pt idx="155">
                  <c:v>148995</c:v>
                </c:pt>
                <c:pt idx="156">
                  <c:v>159226</c:v>
                </c:pt>
                <c:pt idx="157">
                  <c:v>171485</c:v>
                </c:pt>
                <c:pt idx="158">
                  <c:v>183841</c:v>
                </c:pt>
                <c:pt idx="159">
                  <c:v>196251</c:v>
                </c:pt>
                <c:pt idx="160">
                  <c:v>204048</c:v>
                </c:pt>
                <c:pt idx="161">
                  <c:v>209142</c:v>
                </c:pt>
                <c:pt idx="162">
                  <c:v>221476</c:v>
                </c:pt>
                <c:pt idx="163">
                  <c:v>230632</c:v>
                </c:pt>
                <c:pt idx="164">
                  <c:v>237943</c:v>
                </c:pt>
                <c:pt idx="165">
                  <c:v>244238</c:v>
                </c:pt>
                <c:pt idx="166">
                  <c:v>251704</c:v>
                </c:pt>
                <c:pt idx="167">
                  <c:v>255904</c:v>
                </c:pt>
                <c:pt idx="168">
                  <c:v>2591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11-4592-A267-E0FEEF560F48}"/>
            </c:ext>
          </c:extLst>
        </c:ser>
        <c:ser>
          <c:idx val="10"/>
          <c:order val="10"/>
          <c:tx>
            <c:strRef>
              <c:f>List1!$A$12</c:f>
              <c:strCache>
                <c:ptCount val="1"/>
                <c:pt idx="0">
                  <c:v>30–34</c:v>
                </c:pt>
              </c:strCache>
            </c:strRef>
          </c:tx>
          <c:spPr>
            <a:ln w="28575" cap="rnd">
              <a:solidFill>
                <a:srgbClr val="CC99FF"/>
              </a:solidFill>
              <a:round/>
            </a:ln>
            <a:effectLst/>
          </c:spPr>
          <c:marker>
            <c:symbol val="none"/>
          </c:marker>
          <c:cat>
            <c:strRef>
              <c:f>List1!$B$1:$FN$1</c:f>
              <c:strCache>
                <c:ptCount val="169"/>
                <c:pt idx="0">
                  <c:v>27-XII.</c:v>
                </c:pt>
                <c:pt idx="1">
                  <c:v>28-XII.</c:v>
                </c:pt>
                <c:pt idx="2">
                  <c:v>29-XII.</c:v>
                </c:pt>
                <c:pt idx="3">
                  <c:v>30-XII.</c:v>
                </c:pt>
                <c:pt idx="4">
                  <c:v>31-XII.</c:v>
                </c:pt>
                <c:pt idx="5">
                  <c:v>1-I.</c:v>
                </c:pt>
                <c:pt idx="6">
                  <c:v>2-I.</c:v>
                </c:pt>
                <c:pt idx="7">
                  <c:v>3-I.</c:v>
                </c:pt>
                <c:pt idx="8">
                  <c:v>4-I.</c:v>
                </c:pt>
                <c:pt idx="9">
                  <c:v>5-I.</c:v>
                </c:pt>
                <c:pt idx="10">
                  <c:v>6-I.</c:v>
                </c:pt>
                <c:pt idx="11">
                  <c:v>7-I.</c:v>
                </c:pt>
                <c:pt idx="12">
                  <c:v>8-I.</c:v>
                </c:pt>
                <c:pt idx="13">
                  <c:v>9-I.</c:v>
                </c:pt>
                <c:pt idx="14">
                  <c:v>10-I.</c:v>
                </c:pt>
                <c:pt idx="15">
                  <c:v>11-I.</c:v>
                </c:pt>
                <c:pt idx="16">
                  <c:v>12-I.</c:v>
                </c:pt>
                <c:pt idx="17">
                  <c:v>13-I.</c:v>
                </c:pt>
                <c:pt idx="18">
                  <c:v>14-I.</c:v>
                </c:pt>
                <c:pt idx="19">
                  <c:v>15-I.</c:v>
                </c:pt>
                <c:pt idx="20">
                  <c:v>16-I.</c:v>
                </c:pt>
                <c:pt idx="21">
                  <c:v>17-I.</c:v>
                </c:pt>
                <c:pt idx="22">
                  <c:v>18-I.</c:v>
                </c:pt>
                <c:pt idx="23">
                  <c:v>19-I.</c:v>
                </c:pt>
                <c:pt idx="24">
                  <c:v>20-I.</c:v>
                </c:pt>
                <c:pt idx="25">
                  <c:v>21-I.</c:v>
                </c:pt>
                <c:pt idx="26">
                  <c:v>22-I.</c:v>
                </c:pt>
                <c:pt idx="27">
                  <c:v>23-I.</c:v>
                </c:pt>
                <c:pt idx="28">
                  <c:v>24-I.</c:v>
                </c:pt>
                <c:pt idx="29">
                  <c:v>25-I.</c:v>
                </c:pt>
                <c:pt idx="30">
                  <c:v>26-I.</c:v>
                </c:pt>
                <c:pt idx="31">
                  <c:v>27-I.</c:v>
                </c:pt>
                <c:pt idx="32">
                  <c:v>28-I.</c:v>
                </c:pt>
                <c:pt idx="33">
                  <c:v>29-I.</c:v>
                </c:pt>
                <c:pt idx="34">
                  <c:v>30-I.</c:v>
                </c:pt>
                <c:pt idx="35">
                  <c:v>31-I.</c:v>
                </c:pt>
                <c:pt idx="36">
                  <c:v>1-II.</c:v>
                </c:pt>
                <c:pt idx="37">
                  <c:v>2-II.</c:v>
                </c:pt>
                <c:pt idx="38">
                  <c:v>3-II.</c:v>
                </c:pt>
                <c:pt idx="39">
                  <c:v>4-II.</c:v>
                </c:pt>
                <c:pt idx="40">
                  <c:v>5-II.</c:v>
                </c:pt>
                <c:pt idx="41">
                  <c:v>6-II.</c:v>
                </c:pt>
                <c:pt idx="42">
                  <c:v>7-II.</c:v>
                </c:pt>
                <c:pt idx="43">
                  <c:v>8-II.</c:v>
                </c:pt>
                <c:pt idx="44">
                  <c:v>9-II.</c:v>
                </c:pt>
                <c:pt idx="45">
                  <c:v>10-II.</c:v>
                </c:pt>
                <c:pt idx="46">
                  <c:v>11-II.</c:v>
                </c:pt>
                <c:pt idx="47">
                  <c:v>12-II.</c:v>
                </c:pt>
                <c:pt idx="48">
                  <c:v>13-II.</c:v>
                </c:pt>
                <c:pt idx="49">
                  <c:v>14-II.</c:v>
                </c:pt>
                <c:pt idx="50">
                  <c:v>15-II.</c:v>
                </c:pt>
                <c:pt idx="51">
                  <c:v>16-II.</c:v>
                </c:pt>
                <c:pt idx="52">
                  <c:v>17-II.</c:v>
                </c:pt>
                <c:pt idx="53">
                  <c:v>18-II.</c:v>
                </c:pt>
                <c:pt idx="54">
                  <c:v>19-II.</c:v>
                </c:pt>
                <c:pt idx="55">
                  <c:v>20-II.</c:v>
                </c:pt>
                <c:pt idx="56">
                  <c:v>21-II.</c:v>
                </c:pt>
                <c:pt idx="57">
                  <c:v>22-II.</c:v>
                </c:pt>
                <c:pt idx="58">
                  <c:v>23-II.</c:v>
                </c:pt>
                <c:pt idx="59">
                  <c:v>24-II.</c:v>
                </c:pt>
                <c:pt idx="60">
                  <c:v>25-II.</c:v>
                </c:pt>
                <c:pt idx="61">
                  <c:v>26-II.</c:v>
                </c:pt>
                <c:pt idx="62">
                  <c:v>27-II.</c:v>
                </c:pt>
                <c:pt idx="63">
                  <c:v>28-II.</c:v>
                </c:pt>
                <c:pt idx="64">
                  <c:v>1-III.</c:v>
                </c:pt>
                <c:pt idx="65">
                  <c:v>2-III.</c:v>
                </c:pt>
                <c:pt idx="66">
                  <c:v>3-III.</c:v>
                </c:pt>
                <c:pt idx="67">
                  <c:v>4-III.</c:v>
                </c:pt>
                <c:pt idx="68">
                  <c:v>5-III.</c:v>
                </c:pt>
                <c:pt idx="69">
                  <c:v>6-III.</c:v>
                </c:pt>
                <c:pt idx="70">
                  <c:v>7-III.</c:v>
                </c:pt>
                <c:pt idx="71">
                  <c:v>8-III.</c:v>
                </c:pt>
                <c:pt idx="72">
                  <c:v>9-III.</c:v>
                </c:pt>
                <c:pt idx="73">
                  <c:v>10-III.</c:v>
                </c:pt>
                <c:pt idx="74">
                  <c:v>11-III.</c:v>
                </c:pt>
                <c:pt idx="75">
                  <c:v>12-III.</c:v>
                </c:pt>
                <c:pt idx="76">
                  <c:v>13-III.</c:v>
                </c:pt>
                <c:pt idx="77">
                  <c:v>14-III.</c:v>
                </c:pt>
                <c:pt idx="78">
                  <c:v>15-III.</c:v>
                </c:pt>
                <c:pt idx="79">
                  <c:v>16-III.</c:v>
                </c:pt>
                <c:pt idx="80">
                  <c:v>17-III.</c:v>
                </c:pt>
                <c:pt idx="81">
                  <c:v>18-III.</c:v>
                </c:pt>
                <c:pt idx="82">
                  <c:v>19-III.</c:v>
                </c:pt>
                <c:pt idx="83">
                  <c:v>20-III.</c:v>
                </c:pt>
                <c:pt idx="84">
                  <c:v>21-III.</c:v>
                </c:pt>
                <c:pt idx="85">
                  <c:v>22-III.</c:v>
                </c:pt>
                <c:pt idx="86">
                  <c:v>23-III.</c:v>
                </c:pt>
                <c:pt idx="87">
                  <c:v>24-III.</c:v>
                </c:pt>
                <c:pt idx="88">
                  <c:v>25-III.</c:v>
                </c:pt>
                <c:pt idx="89">
                  <c:v>26-III.</c:v>
                </c:pt>
                <c:pt idx="90">
                  <c:v>27-III.</c:v>
                </c:pt>
                <c:pt idx="91">
                  <c:v>28-III.</c:v>
                </c:pt>
                <c:pt idx="92">
                  <c:v>29-III.</c:v>
                </c:pt>
                <c:pt idx="93">
                  <c:v>30-III.</c:v>
                </c:pt>
                <c:pt idx="94">
                  <c:v>31-III.</c:v>
                </c:pt>
                <c:pt idx="95">
                  <c:v>1-IV.</c:v>
                </c:pt>
                <c:pt idx="96">
                  <c:v>2-IV.</c:v>
                </c:pt>
                <c:pt idx="97">
                  <c:v>3-IV.</c:v>
                </c:pt>
                <c:pt idx="98">
                  <c:v>4-IV.</c:v>
                </c:pt>
                <c:pt idx="99">
                  <c:v>5-IV.</c:v>
                </c:pt>
                <c:pt idx="100">
                  <c:v>6-IV.</c:v>
                </c:pt>
                <c:pt idx="101">
                  <c:v>7-IV.</c:v>
                </c:pt>
                <c:pt idx="102">
                  <c:v>8-IV.</c:v>
                </c:pt>
                <c:pt idx="103">
                  <c:v>9-IV.</c:v>
                </c:pt>
                <c:pt idx="104">
                  <c:v>10-IV.</c:v>
                </c:pt>
                <c:pt idx="105">
                  <c:v>11-IV.</c:v>
                </c:pt>
                <c:pt idx="106">
                  <c:v>12-IV.</c:v>
                </c:pt>
                <c:pt idx="107">
                  <c:v>13-IV.</c:v>
                </c:pt>
                <c:pt idx="108">
                  <c:v>14-IV.</c:v>
                </c:pt>
                <c:pt idx="109">
                  <c:v>15-IV.</c:v>
                </c:pt>
                <c:pt idx="110">
                  <c:v>16-IV.</c:v>
                </c:pt>
                <c:pt idx="111">
                  <c:v>17-IV.</c:v>
                </c:pt>
                <c:pt idx="112">
                  <c:v>18-IV.</c:v>
                </c:pt>
                <c:pt idx="113">
                  <c:v>19-IV.</c:v>
                </c:pt>
                <c:pt idx="114">
                  <c:v>20-IV.</c:v>
                </c:pt>
                <c:pt idx="115">
                  <c:v>21-IV.</c:v>
                </c:pt>
                <c:pt idx="116">
                  <c:v>22-IV.</c:v>
                </c:pt>
                <c:pt idx="117">
                  <c:v>23-IV.</c:v>
                </c:pt>
                <c:pt idx="118">
                  <c:v>24-IV.</c:v>
                </c:pt>
                <c:pt idx="119">
                  <c:v>25-IV.</c:v>
                </c:pt>
                <c:pt idx="120">
                  <c:v>26-IV.</c:v>
                </c:pt>
                <c:pt idx="121">
                  <c:v>27-IV.</c:v>
                </c:pt>
                <c:pt idx="122">
                  <c:v>28-IV.</c:v>
                </c:pt>
                <c:pt idx="123">
                  <c:v>29-IV.</c:v>
                </c:pt>
                <c:pt idx="124">
                  <c:v>30-IV.</c:v>
                </c:pt>
                <c:pt idx="125">
                  <c:v>1-V.</c:v>
                </c:pt>
                <c:pt idx="126">
                  <c:v>2-V.</c:v>
                </c:pt>
                <c:pt idx="127">
                  <c:v>3-V.</c:v>
                </c:pt>
                <c:pt idx="128">
                  <c:v>4-V.</c:v>
                </c:pt>
                <c:pt idx="129">
                  <c:v>5-V.</c:v>
                </c:pt>
                <c:pt idx="130">
                  <c:v>6-V.</c:v>
                </c:pt>
                <c:pt idx="131">
                  <c:v>7-V.</c:v>
                </c:pt>
                <c:pt idx="132">
                  <c:v>8-V.</c:v>
                </c:pt>
                <c:pt idx="133">
                  <c:v>9-V.</c:v>
                </c:pt>
                <c:pt idx="134">
                  <c:v>10-V.</c:v>
                </c:pt>
                <c:pt idx="135">
                  <c:v>11-V.</c:v>
                </c:pt>
                <c:pt idx="136">
                  <c:v>12-V.</c:v>
                </c:pt>
                <c:pt idx="137">
                  <c:v>13-V.</c:v>
                </c:pt>
                <c:pt idx="138">
                  <c:v>14-V.</c:v>
                </c:pt>
                <c:pt idx="139">
                  <c:v>15-V.</c:v>
                </c:pt>
                <c:pt idx="140">
                  <c:v>16-V.</c:v>
                </c:pt>
                <c:pt idx="141">
                  <c:v>17-V.</c:v>
                </c:pt>
                <c:pt idx="142">
                  <c:v>18-V.</c:v>
                </c:pt>
                <c:pt idx="143">
                  <c:v>19-V.</c:v>
                </c:pt>
                <c:pt idx="144">
                  <c:v>20-V.</c:v>
                </c:pt>
                <c:pt idx="145">
                  <c:v>21-V.</c:v>
                </c:pt>
                <c:pt idx="146">
                  <c:v>22-V.</c:v>
                </c:pt>
                <c:pt idx="147">
                  <c:v>23-V.</c:v>
                </c:pt>
                <c:pt idx="148">
                  <c:v>24-V.</c:v>
                </c:pt>
                <c:pt idx="149">
                  <c:v>25-V.</c:v>
                </c:pt>
                <c:pt idx="150">
                  <c:v>26-V.</c:v>
                </c:pt>
                <c:pt idx="151">
                  <c:v>27-V.</c:v>
                </c:pt>
                <c:pt idx="152">
                  <c:v>28-V.</c:v>
                </c:pt>
                <c:pt idx="153">
                  <c:v>29-V.</c:v>
                </c:pt>
                <c:pt idx="154">
                  <c:v>30-V.</c:v>
                </c:pt>
                <c:pt idx="155">
                  <c:v>31-V.</c:v>
                </c:pt>
                <c:pt idx="156">
                  <c:v>1-VI.</c:v>
                </c:pt>
                <c:pt idx="157">
                  <c:v>2-VI.</c:v>
                </c:pt>
                <c:pt idx="158">
                  <c:v>3-VI.</c:v>
                </c:pt>
                <c:pt idx="159">
                  <c:v>4-VI.</c:v>
                </c:pt>
                <c:pt idx="160">
                  <c:v>5-VI.</c:v>
                </c:pt>
                <c:pt idx="161">
                  <c:v>6-VI.</c:v>
                </c:pt>
                <c:pt idx="162">
                  <c:v>7-VI.</c:v>
                </c:pt>
                <c:pt idx="163">
                  <c:v>8-VI.</c:v>
                </c:pt>
                <c:pt idx="164">
                  <c:v>9-VI.</c:v>
                </c:pt>
                <c:pt idx="165">
                  <c:v>10-VI.</c:v>
                </c:pt>
                <c:pt idx="166">
                  <c:v>11-VI.</c:v>
                </c:pt>
                <c:pt idx="167">
                  <c:v>12-VI.</c:v>
                </c:pt>
                <c:pt idx="168">
                  <c:v>13-VI.</c:v>
                </c:pt>
              </c:strCache>
            </c:strRef>
          </c:cat>
          <c:val>
            <c:numRef>
              <c:f>List1!$B$12:$FN$12</c:f>
              <c:numCache>
                <c:formatCode>General</c:formatCode>
                <c:ptCount val="169"/>
                <c:pt idx="0">
                  <c:v>109</c:v>
                </c:pt>
                <c:pt idx="1">
                  <c:v>333</c:v>
                </c:pt>
                <c:pt idx="2">
                  <c:v>610</c:v>
                </c:pt>
                <c:pt idx="3">
                  <c:v>868</c:v>
                </c:pt>
                <c:pt idx="4">
                  <c:v>977</c:v>
                </c:pt>
                <c:pt idx="5">
                  <c:v>994</c:v>
                </c:pt>
                <c:pt idx="6">
                  <c:v>1097</c:v>
                </c:pt>
                <c:pt idx="7">
                  <c:v>1182</c:v>
                </c:pt>
                <c:pt idx="8">
                  <c:v>1470</c:v>
                </c:pt>
                <c:pt idx="9">
                  <c:v>1834</c:v>
                </c:pt>
                <c:pt idx="10">
                  <c:v>2273</c:v>
                </c:pt>
                <c:pt idx="11">
                  <c:v>2838</c:v>
                </c:pt>
                <c:pt idx="12">
                  <c:v>3501</c:v>
                </c:pt>
                <c:pt idx="13">
                  <c:v>3611</c:v>
                </c:pt>
                <c:pt idx="14">
                  <c:v>3721</c:v>
                </c:pt>
                <c:pt idx="15">
                  <c:v>4385</c:v>
                </c:pt>
                <c:pt idx="16">
                  <c:v>5214</c:v>
                </c:pt>
                <c:pt idx="17">
                  <c:v>5978</c:v>
                </c:pt>
                <c:pt idx="18">
                  <c:v>6753</c:v>
                </c:pt>
                <c:pt idx="19">
                  <c:v>7458</c:v>
                </c:pt>
                <c:pt idx="20">
                  <c:v>7546</c:v>
                </c:pt>
                <c:pt idx="21">
                  <c:v>7668</c:v>
                </c:pt>
                <c:pt idx="22">
                  <c:v>8282</c:v>
                </c:pt>
                <c:pt idx="23">
                  <c:v>8841</c:v>
                </c:pt>
                <c:pt idx="24">
                  <c:v>9379</c:v>
                </c:pt>
                <c:pt idx="25">
                  <c:v>9867</c:v>
                </c:pt>
                <c:pt idx="26">
                  <c:v>10249</c:v>
                </c:pt>
                <c:pt idx="27">
                  <c:v>10345</c:v>
                </c:pt>
                <c:pt idx="28">
                  <c:v>10439</c:v>
                </c:pt>
                <c:pt idx="29">
                  <c:v>10890</c:v>
                </c:pt>
                <c:pt idx="30">
                  <c:v>11425</c:v>
                </c:pt>
                <c:pt idx="31">
                  <c:v>11965</c:v>
                </c:pt>
                <c:pt idx="32">
                  <c:v>12549</c:v>
                </c:pt>
                <c:pt idx="33">
                  <c:v>13199</c:v>
                </c:pt>
                <c:pt idx="34">
                  <c:v>13267</c:v>
                </c:pt>
                <c:pt idx="35">
                  <c:v>13352</c:v>
                </c:pt>
                <c:pt idx="36">
                  <c:v>13982</c:v>
                </c:pt>
                <c:pt idx="37">
                  <c:v>14701</c:v>
                </c:pt>
                <c:pt idx="38">
                  <c:v>15466</c:v>
                </c:pt>
                <c:pt idx="39">
                  <c:v>16300</c:v>
                </c:pt>
                <c:pt idx="40">
                  <c:v>16976</c:v>
                </c:pt>
                <c:pt idx="41">
                  <c:v>17069</c:v>
                </c:pt>
                <c:pt idx="42">
                  <c:v>17146</c:v>
                </c:pt>
                <c:pt idx="43">
                  <c:v>17725</c:v>
                </c:pt>
                <c:pt idx="44">
                  <c:v>18291</c:v>
                </c:pt>
                <c:pt idx="45">
                  <c:v>18783</c:v>
                </c:pt>
                <c:pt idx="46">
                  <c:v>19336</c:v>
                </c:pt>
                <c:pt idx="47">
                  <c:v>19845</c:v>
                </c:pt>
                <c:pt idx="48">
                  <c:v>19919</c:v>
                </c:pt>
                <c:pt idx="49">
                  <c:v>19943</c:v>
                </c:pt>
                <c:pt idx="50">
                  <c:v>20359</c:v>
                </c:pt>
                <c:pt idx="51">
                  <c:v>20716</c:v>
                </c:pt>
                <c:pt idx="52">
                  <c:v>21128</c:v>
                </c:pt>
                <c:pt idx="53">
                  <c:v>21571</c:v>
                </c:pt>
                <c:pt idx="54">
                  <c:v>21995</c:v>
                </c:pt>
                <c:pt idx="55">
                  <c:v>22055</c:v>
                </c:pt>
                <c:pt idx="56">
                  <c:v>22078</c:v>
                </c:pt>
                <c:pt idx="57">
                  <c:v>22497</c:v>
                </c:pt>
                <c:pt idx="58">
                  <c:v>22988</c:v>
                </c:pt>
                <c:pt idx="59">
                  <c:v>23527</c:v>
                </c:pt>
                <c:pt idx="60">
                  <c:v>24130</c:v>
                </c:pt>
                <c:pt idx="61">
                  <c:v>24701</c:v>
                </c:pt>
                <c:pt idx="62">
                  <c:v>24777</c:v>
                </c:pt>
                <c:pt idx="63">
                  <c:v>24852</c:v>
                </c:pt>
                <c:pt idx="64">
                  <c:v>25453</c:v>
                </c:pt>
                <c:pt idx="65">
                  <c:v>26146</c:v>
                </c:pt>
                <c:pt idx="66">
                  <c:v>26915</c:v>
                </c:pt>
                <c:pt idx="67">
                  <c:v>27500</c:v>
                </c:pt>
                <c:pt idx="68">
                  <c:v>28206</c:v>
                </c:pt>
                <c:pt idx="69">
                  <c:v>28442</c:v>
                </c:pt>
                <c:pt idx="70">
                  <c:v>28659</c:v>
                </c:pt>
                <c:pt idx="71">
                  <c:v>29312</c:v>
                </c:pt>
                <c:pt idx="72">
                  <c:v>30078</c:v>
                </c:pt>
                <c:pt idx="73">
                  <c:v>30939</c:v>
                </c:pt>
                <c:pt idx="74">
                  <c:v>31980</c:v>
                </c:pt>
                <c:pt idx="75">
                  <c:v>32859</c:v>
                </c:pt>
                <c:pt idx="76">
                  <c:v>33075</c:v>
                </c:pt>
                <c:pt idx="77">
                  <c:v>33267</c:v>
                </c:pt>
                <c:pt idx="78">
                  <c:v>33978</c:v>
                </c:pt>
                <c:pt idx="79">
                  <c:v>34955</c:v>
                </c:pt>
                <c:pt idx="80">
                  <c:v>35853</c:v>
                </c:pt>
                <c:pt idx="81">
                  <c:v>36704</c:v>
                </c:pt>
                <c:pt idx="82">
                  <c:v>37588</c:v>
                </c:pt>
                <c:pt idx="83">
                  <c:v>37891</c:v>
                </c:pt>
                <c:pt idx="84">
                  <c:v>38069</c:v>
                </c:pt>
                <c:pt idx="85">
                  <c:v>38755</c:v>
                </c:pt>
                <c:pt idx="86">
                  <c:v>39499</c:v>
                </c:pt>
                <c:pt idx="87">
                  <c:v>40374</c:v>
                </c:pt>
                <c:pt idx="88">
                  <c:v>41184</c:v>
                </c:pt>
                <c:pt idx="89">
                  <c:v>42240</c:v>
                </c:pt>
                <c:pt idx="90">
                  <c:v>42472</c:v>
                </c:pt>
                <c:pt idx="91">
                  <c:v>42666</c:v>
                </c:pt>
                <c:pt idx="92">
                  <c:v>43462</c:v>
                </c:pt>
                <c:pt idx="93">
                  <c:v>44401</c:v>
                </c:pt>
                <c:pt idx="94">
                  <c:v>45439</c:v>
                </c:pt>
                <c:pt idx="95">
                  <c:v>46675</c:v>
                </c:pt>
                <c:pt idx="96">
                  <c:v>47037</c:v>
                </c:pt>
                <c:pt idx="97">
                  <c:v>47325</c:v>
                </c:pt>
                <c:pt idx="98">
                  <c:v>47510</c:v>
                </c:pt>
                <c:pt idx="99">
                  <c:v>47698</c:v>
                </c:pt>
                <c:pt idx="100">
                  <c:v>48648</c:v>
                </c:pt>
                <c:pt idx="101">
                  <c:v>49502</c:v>
                </c:pt>
                <c:pt idx="102">
                  <c:v>50720</c:v>
                </c:pt>
                <c:pt idx="103">
                  <c:v>52348</c:v>
                </c:pt>
                <c:pt idx="104">
                  <c:v>52893</c:v>
                </c:pt>
                <c:pt idx="105">
                  <c:v>53216</c:v>
                </c:pt>
                <c:pt idx="106">
                  <c:v>54183</c:v>
                </c:pt>
                <c:pt idx="107">
                  <c:v>55290</c:v>
                </c:pt>
                <c:pt idx="108">
                  <c:v>56348</c:v>
                </c:pt>
                <c:pt idx="109">
                  <c:v>57687</c:v>
                </c:pt>
                <c:pt idx="110">
                  <c:v>59293</c:v>
                </c:pt>
                <c:pt idx="111">
                  <c:v>59933</c:v>
                </c:pt>
                <c:pt idx="112">
                  <c:v>60438</c:v>
                </c:pt>
                <c:pt idx="113">
                  <c:v>61606</c:v>
                </c:pt>
                <c:pt idx="114">
                  <c:v>62694</c:v>
                </c:pt>
                <c:pt idx="115">
                  <c:v>63963</c:v>
                </c:pt>
                <c:pt idx="116">
                  <c:v>65366</c:v>
                </c:pt>
                <c:pt idx="117">
                  <c:v>67187</c:v>
                </c:pt>
                <c:pt idx="118">
                  <c:v>67714</c:v>
                </c:pt>
                <c:pt idx="119">
                  <c:v>68160</c:v>
                </c:pt>
                <c:pt idx="120">
                  <c:v>69078</c:v>
                </c:pt>
                <c:pt idx="121">
                  <c:v>70000</c:v>
                </c:pt>
                <c:pt idx="122">
                  <c:v>71109</c:v>
                </c:pt>
                <c:pt idx="123">
                  <c:v>72370</c:v>
                </c:pt>
                <c:pt idx="124">
                  <c:v>73690</c:v>
                </c:pt>
                <c:pt idx="125">
                  <c:v>74008</c:v>
                </c:pt>
                <c:pt idx="126">
                  <c:v>74317</c:v>
                </c:pt>
                <c:pt idx="127">
                  <c:v>75248</c:v>
                </c:pt>
                <c:pt idx="128">
                  <c:v>76273</c:v>
                </c:pt>
                <c:pt idx="129">
                  <c:v>77487</c:v>
                </c:pt>
                <c:pt idx="130">
                  <c:v>78834</c:v>
                </c:pt>
                <c:pt idx="131">
                  <c:v>80536</c:v>
                </c:pt>
                <c:pt idx="132">
                  <c:v>81162</c:v>
                </c:pt>
                <c:pt idx="133">
                  <c:v>81659</c:v>
                </c:pt>
                <c:pt idx="134">
                  <c:v>82918</c:v>
                </c:pt>
                <c:pt idx="135">
                  <c:v>84276</c:v>
                </c:pt>
                <c:pt idx="136">
                  <c:v>85536</c:v>
                </c:pt>
                <c:pt idx="137">
                  <c:v>86848</c:v>
                </c:pt>
                <c:pt idx="138">
                  <c:v>88193</c:v>
                </c:pt>
                <c:pt idx="139">
                  <c:v>88754</c:v>
                </c:pt>
                <c:pt idx="140">
                  <c:v>89150</c:v>
                </c:pt>
                <c:pt idx="141">
                  <c:v>90119</c:v>
                </c:pt>
                <c:pt idx="142">
                  <c:v>91307</c:v>
                </c:pt>
                <c:pt idx="143">
                  <c:v>92530</c:v>
                </c:pt>
                <c:pt idx="144">
                  <c:v>93945</c:v>
                </c:pt>
                <c:pt idx="145">
                  <c:v>95701</c:v>
                </c:pt>
                <c:pt idx="146">
                  <c:v>96274</c:v>
                </c:pt>
                <c:pt idx="147">
                  <c:v>96688</c:v>
                </c:pt>
                <c:pt idx="148">
                  <c:v>98019</c:v>
                </c:pt>
                <c:pt idx="149">
                  <c:v>99331</c:v>
                </c:pt>
                <c:pt idx="150">
                  <c:v>101364</c:v>
                </c:pt>
                <c:pt idx="151">
                  <c:v>104646</c:v>
                </c:pt>
                <c:pt idx="152">
                  <c:v>108911</c:v>
                </c:pt>
                <c:pt idx="153">
                  <c:v>111489</c:v>
                </c:pt>
                <c:pt idx="154">
                  <c:v>113208</c:v>
                </c:pt>
                <c:pt idx="155">
                  <c:v>119501</c:v>
                </c:pt>
                <c:pt idx="156">
                  <c:v>126945</c:v>
                </c:pt>
                <c:pt idx="157">
                  <c:v>136126</c:v>
                </c:pt>
                <c:pt idx="158">
                  <c:v>146422</c:v>
                </c:pt>
                <c:pt idx="159">
                  <c:v>157402</c:v>
                </c:pt>
                <c:pt idx="160">
                  <c:v>164066</c:v>
                </c:pt>
                <c:pt idx="161">
                  <c:v>171956</c:v>
                </c:pt>
                <c:pt idx="162">
                  <c:v>185428</c:v>
                </c:pt>
                <c:pt idx="163">
                  <c:v>199632</c:v>
                </c:pt>
                <c:pt idx="164">
                  <c:v>212757</c:v>
                </c:pt>
                <c:pt idx="165">
                  <c:v>223808</c:v>
                </c:pt>
                <c:pt idx="166">
                  <c:v>235286</c:v>
                </c:pt>
                <c:pt idx="167">
                  <c:v>241782</c:v>
                </c:pt>
                <c:pt idx="168">
                  <c:v>2465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11-4592-A267-E0FEEF560F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5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462669612369699"/>
          <c:y val="9.8345988965239925E-2"/>
          <c:w val="6.7641483788482074E-2"/>
          <c:h val="0.772266679956727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 (zjednodušený výpočet) - 7 denní úseky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9B4-4B82-8A69-E8EE655F407B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VK</c:v>
                </c:pt>
                <c:pt idx="1">
                  <c:v>VYS</c:v>
                </c:pt>
                <c:pt idx="2">
                  <c:v>STC</c:v>
                </c:pt>
                <c:pt idx="3">
                  <c:v>JHC</c:v>
                </c:pt>
                <c:pt idx="4">
                  <c:v>LBK</c:v>
                </c:pt>
                <c:pt idx="5">
                  <c:v>PLK</c:v>
                </c:pt>
                <c:pt idx="6">
                  <c:v>OLK</c:v>
                </c:pt>
                <c:pt idx="7">
                  <c:v>PHA</c:v>
                </c:pt>
                <c:pt idx="8">
                  <c:v>ČR</c:v>
                </c:pt>
                <c:pt idx="9">
                  <c:v>JMK</c:v>
                </c:pt>
                <c:pt idx="10">
                  <c:v>ULK</c:v>
                </c:pt>
                <c:pt idx="11">
                  <c:v>PAK</c:v>
                </c:pt>
                <c:pt idx="12">
                  <c:v>MSK</c:v>
                </c:pt>
                <c:pt idx="13">
                  <c:v>ZLK</c:v>
                </c:pt>
                <c:pt idx="14">
                  <c:v>HKK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.133</c:v>
                </c:pt>
                <c:pt idx="1">
                  <c:v>1.0409999999999999</c:v>
                </c:pt>
                <c:pt idx="2">
                  <c:v>0.79800000000000004</c:v>
                </c:pt>
                <c:pt idx="3">
                  <c:v>0.77600000000000002</c:v>
                </c:pt>
                <c:pt idx="4">
                  <c:v>0.745</c:v>
                </c:pt>
                <c:pt idx="5">
                  <c:v>0.72899999999999998</c:v>
                </c:pt>
                <c:pt idx="6">
                  <c:v>0.72</c:v>
                </c:pt>
                <c:pt idx="7">
                  <c:v>0.70299999999999996</c:v>
                </c:pt>
                <c:pt idx="8">
                  <c:v>0.69499999999999995</c:v>
                </c:pt>
                <c:pt idx="9">
                  <c:v>0.66500000000000004</c:v>
                </c:pt>
                <c:pt idx="10">
                  <c:v>0.61199999999999999</c:v>
                </c:pt>
                <c:pt idx="11">
                  <c:v>0.60799999999999998</c:v>
                </c:pt>
                <c:pt idx="12">
                  <c:v>0.60399999999999998</c:v>
                </c:pt>
                <c:pt idx="13">
                  <c:v>0.52400000000000002</c:v>
                </c:pt>
                <c:pt idx="14">
                  <c:v>0.470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Ústecký kraj</c:v>
                </c:pt>
                <c:pt idx="8">
                  <c:v>Jihomoravský kraj</c:v>
                </c:pt>
                <c:pt idx="9">
                  <c:v>Střed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20980456560999999</c:v>
                </c:pt>
                <c:pt idx="1">
                  <c:v>0.148610253242</c:v>
                </c:pt>
                <c:pt idx="2">
                  <c:v>0.126222222222</c:v>
                </c:pt>
                <c:pt idx="3">
                  <c:v>0.228149201833</c:v>
                </c:pt>
                <c:pt idx="4">
                  <c:v>0.113789878416</c:v>
                </c:pt>
                <c:pt idx="5">
                  <c:v>0.12658793628500001</c:v>
                </c:pt>
                <c:pt idx="6">
                  <c:v>0.111920695478</c:v>
                </c:pt>
                <c:pt idx="7">
                  <c:v>0.130350580991</c:v>
                </c:pt>
                <c:pt idx="8">
                  <c:v>0.13610130071400001</c:v>
                </c:pt>
                <c:pt idx="9">
                  <c:v>0.11939308514999999</c:v>
                </c:pt>
                <c:pt idx="10">
                  <c:v>0.16290473225400001</c:v>
                </c:pt>
                <c:pt idx="11">
                  <c:v>0.124385050297</c:v>
                </c:pt>
                <c:pt idx="12">
                  <c:v>5.9819661315000001E-2</c:v>
                </c:pt>
                <c:pt idx="13">
                  <c:v>8.2317801671999993E-2</c:v>
                </c:pt>
                <c:pt idx="14">
                  <c:v>5.63380281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BF-477D-82C7-C81F3163DE12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Ústecký kraj</c:v>
                </c:pt>
                <c:pt idx="8">
                  <c:v>Jihomoravský kraj</c:v>
                </c:pt>
                <c:pt idx="9">
                  <c:v>Střed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10066829319999999</c:v>
                </c:pt>
                <c:pt idx="1">
                  <c:v>5.7447127643000001E-2</c:v>
                </c:pt>
                <c:pt idx="2">
                  <c:v>5.7052797478000003E-2</c:v>
                </c:pt>
                <c:pt idx="3">
                  <c:v>9.3675287979999994E-2</c:v>
                </c:pt>
                <c:pt idx="4">
                  <c:v>6.0396470972000002E-2</c:v>
                </c:pt>
                <c:pt idx="5">
                  <c:v>5.4183514171000001E-2</c:v>
                </c:pt>
                <c:pt idx="6">
                  <c:v>5.6445114046E-2</c:v>
                </c:pt>
                <c:pt idx="7">
                  <c:v>5.2666409307999998E-2</c:v>
                </c:pt>
                <c:pt idx="8">
                  <c:v>6.7817448608E-2</c:v>
                </c:pt>
                <c:pt idx="9">
                  <c:v>4.6602632514999999E-2</c:v>
                </c:pt>
                <c:pt idx="10">
                  <c:v>7.4259681093000005E-2</c:v>
                </c:pt>
                <c:pt idx="11">
                  <c:v>4.9288441512999999E-2</c:v>
                </c:pt>
                <c:pt idx="12">
                  <c:v>2.0631067961000001E-2</c:v>
                </c:pt>
                <c:pt idx="13">
                  <c:v>3.0418392863E-2</c:v>
                </c:pt>
                <c:pt idx="14">
                  <c:v>1.8317061831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BF-477D-82C7-C81F3163DE12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Ústecký kraj</c:v>
                </c:pt>
                <c:pt idx="8">
                  <c:v>Jihomoravský kraj</c:v>
                </c:pt>
                <c:pt idx="9">
                  <c:v>Střed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[$-10405]0.0\ %</c:formatCode>
                <c:ptCount val="15"/>
                <c:pt idx="0">
                  <c:v>3.2840922963999999E-2</c:v>
                </c:pt>
                <c:pt idx="1">
                  <c:v>2.5356576862000001E-2</c:v>
                </c:pt>
                <c:pt idx="2">
                  <c:v>2.6563273387E-2</c:v>
                </c:pt>
                <c:pt idx="3">
                  <c:v>4.5068341337000002E-2</c:v>
                </c:pt>
                <c:pt idx="4">
                  <c:v>2.2516735411000001E-2</c:v>
                </c:pt>
                <c:pt idx="5">
                  <c:v>1.7545943210000001E-2</c:v>
                </c:pt>
                <c:pt idx="6">
                  <c:v>1.9684586162999999E-2</c:v>
                </c:pt>
                <c:pt idx="7">
                  <c:v>1.9945979637999999E-2</c:v>
                </c:pt>
                <c:pt idx="8">
                  <c:v>2.0039220492E-2</c:v>
                </c:pt>
                <c:pt idx="9">
                  <c:v>1.2495568947E-2</c:v>
                </c:pt>
                <c:pt idx="10">
                  <c:v>1.787140575E-2</c:v>
                </c:pt>
                <c:pt idx="11">
                  <c:v>1.0635445526000001E-2</c:v>
                </c:pt>
                <c:pt idx="12">
                  <c:v>5.7803468199999998E-3</c:v>
                </c:pt>
                <c:pt idx="13">
                  <c:v>8.7052999910000005E-3</c:v>
                </c:pt>
                <c:pt idx="14">
                  <c:v>6.840530140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BF-477D-82C7-C81F3163DE12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Ústecký kraj</c:v>
                </c:pt>
                <c:pt idx="8">
                  <c:v>Jihomoravský kraj</c:v>
                </c:pt>
                <c:pt idx="9">
                  <c:v>Střed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.5440613026000002E-2</c:v>
                </c:pt>
                <c:pt idx="1">
                  <c:v>1.858805858E-2</c:v>
                </c:pt>
                <c:pt idx="2">
                  <c:v>1.6528925619E-2</c:v>
                </c:pt>
                <c:pt idx="3">
                  <c:v>1.43321513E-2</c:v>
                </c:pt>
                <c:pt idx="4">
                  <c:v>1.1577305196999999E-2</c:v>
                </c:pt>
                <c:pt idx="5">
                  <c:v>8.9972371199999995E-3</c:v>
                </c:pt>
                <c:pt idx="6">
                  <c:v>8.3048595289999996E-3</c:v>
                </c:pt>
                <c:pt idx="7">
                  <c:v>8.045126687E-3</c:v>
                </c:pt>
                <c:pt idx="8">
                  <c:v>7.9521556250000004E-3</c:v>
                </c:pt>
                <c:pt idx="9">
                  <c:v>7.2163191089999997E-3</c:v>
                </c:pt>
                <c:pt idx="10">
                  <c:v>7.0156502959999997E-3</c:v>
                </c:pt>
                <c:pt idx="11">
                  <c:v>6.1003683239999997E-3</c:v>
                </c:pt>
                <c:pt idx="12">
                  <c:v>5.5045871549999998E-3</c:v>
                </c:pt>
                <c:pt idx="13">
                  <c:v>5.3117869300000004E-3</c:v>
                </c:pt>
                <c:pt idx="14">
                  <c:v>2.996254681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7BF-477D-82C7-C81F3163DE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ní pozitivita testů s diagnostickou/epidemiologickou indikací za 7 dní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737-452E-9903-F3F8D3CFFFD0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Olomouc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Ústecký kraj</c:v>
                </c:pt>
                <c:pt idx="8">
                  <c:v>Jihomoravský kraj</c:v>
                </c:pt>
                <c:pt idx="9">
                  <c:v>Středočeský kraj</c:v>
                </c:pt>
                <c:pt idx="10">
                  <c:v>Kraj Vysočina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.5440613026000002E-2</c:v>
                </c:pt>
                <c:pt idx="1">
                  <c:v>1.858805858E-2</c:v>
                </c:pt>
                <c:pt idx="2">
                  <c:v>1.6528925619E-2</c:v>
                </c:pt>
                <c:pt idx="3">
                  <c:v>1.43321513E-2</c:v>
                </c:pt>
                <c:pt idx="4">
                  <c:v>1.1577305196999999E-2</c:v>
                </c:pt>
                <c:pt idx="5">
                  <c:v>8.9972371199999995E-3</c:v>
                </c:pt>
                <c:pt idx="6">
                  <c:v>8.3048595289999996E-3</c:v>
                </c:pt>
                <c:pt idx="7">
                  <c:v>8.045126687E-3</c:v>
                </c:pt>
                <c:pt idx="8">
                  <c:v>7.9521556250000004E-3</c:v>
                </c:pt>
                <c:pt idx="9">
                  <c:v>7.2163191089999997E-3</c:v>
                </c:pt>
                <c:pt idx="10">
                  <c:v>7.0156502959999997E-3</c:v>
                </c:pt>
                <c:pt idx="11">
                  <c:v>6.1003683239999997E-3</c:v>
                </c:pt>
                <c:pt idx="12">
                  <c:v>5.5045871549999998E-3</c:v>
                </c:pt>
                <c:pt idx="13">
                  <c:v>5.3117869300000004E-3</c:v>
                </c:pt>
                <c:pt idx="14">
                  <c:v>2.996254681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37-452E-9903-F3F8D3CFFF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3.4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Zlínský kraj</c:v>
                </c:pt>
                <c:pt idx="4">
                  <c:v>Hlavní město Praha</c:v>
                </c:pt>
                <c:pt idx="5">
                  <c:v>Moravskoslezský kraj</c:v>
                </c:pt>
                <c:pt idx="6">
                  <c:v>ČR</c:v>
                </c:pt>
                <c:pt idx="7">
                  <c:v>Kraj Vysočina</c:v>
                </c:pt>
                <c:pt idx="8">
                  <c:v>Středočeský kraj</c:v>
                </c:pt>
                <c:pt idx="9">
                  <c:v>Jihomoravský kraj</c:v>
                </c:pt>
                <c:pt idx="10">
                  <c:v>Olomoucký kraj</c:v>
                </c:pt>
                <c:pt idx="11">
                  <c:v>Úst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9.368301812908999</c:v>
                </c:pt>
                <c:pt idx="1">
                  <c:v>30.962131279436001</c:v>
                </c:pt>
                <c:pt idx="2">
                  <c:v>16.750107014571999</c:v>
                </c:pt>
                <c:pt idx="3">
                  <c:v>36.544226270815997</c:v>
                </c:pt>
                <c:pt idx="4">
                  <c:v>18.575610223776</c:v>
                </c:pt>
                <c:pt idx="5">
                  <c:v>31.605403601841999</c:v>
                </c:pt>
                <c:pt idx="6">
                  <c:v>23.556835467605001</c:v>
                </c:pt>
                <c:pt idx="7">
                  <c:v>18.865996399739</c:v>
                </c:pt>
                <c:pt idx="8">
                  <c:v>15.021491462427999</c:v>
                </c:pt>
                <c:pt idx="9">
                  <c:v>28.778735860563</c:v>
                </c:pt>
                <c:pt idx="10">
                  <c:v>38.222298349620999</c:v>
                </c:pt>
                <c:pt idx="11">
                  <c:v>22.521309565191</c:v>
                </c:pt>
                <c:pt idx="12">
                  <c:v>21.612069097418001</c:v>
                </c:pt>
                <c:pt idx="13">
                  <c:v>5.7958958238860001</c:v>
                </c:pt>
                <c:pt idx="14">
                  <c:v>9.440761942109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D-4C6E-9F7A-BB34FB4B814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8.5.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Zlínský kraj</c:v>
                </c:pt>
                <c:pt idx="4">
                  <c:v>Hlavní město Praha</c:v>
                </c:pt>
                <c:pt idx="5">
                  <c:v>Moravskoslezský kraj</c:v>
                </c:pt>
                <c:pt idx="6">
                  <c:v>ČR</c:v>
                </c:pt>
                <c:pt idx="7">
                  <c:v>Kraj Vysočina</c:v>
                </c:pt>
                <c:pt idx="8">
                  <c:v>Středočeský kraj</c:v>
                </c:pt>
                <c:pt idx="9">
                  <c:v>Jihomoravský kraj</c:v>
                </c:pt>
                <c:pt idx="10">
                  <c:v>Olomoucký kraj</c:v>
                </c:pt>
                <c:pt idx="11">
                  <c:v>Úst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0.511194916952</c:v>
                </c:pt>
                <c:pt idx="1">
                  <c:v>18.532078576012999</c:v>
                </c:pt>
                <c:pt idx="2">
                  <c:v>13.197054011481001</c:v>
                </c:pt>
                <c:pt idx="3">
                  <c:v>28.959575535363999</c:v>
                </c:pt>
                <c:pt idx="4">
                  <c:v>11.759559698116</c:v>
                </c:pt>
                <c:pt idx="5">
                  <c:v>20.706988566724</c:v>
                </c:pt>
                <c:pt idx="6">
                  <c:v>15.586196572774</c:v>
                </c:pt>
                <c:pt idx="7">
                  <c:v>10.808643770683</c:v>
                </c:pt>
                <c:pt idx="8">
                  <c:v>10.443513111972999</c:v>
                </c:pt>
                <c:pt idx="9">
                  <c:v>17.233777869988</c:v>
                </c:pt>
                <c:pt idx="10">
                  <c:v>24.900003489172001</c:v>
                </c:pt>
                <c:pt idx="11">
                  <c:v>18.971755340243</c:v>
                </c:pt>
                <c:pt idx="12">
                  <c:v>9.1803479351859991</c:v>
                </c:pt>
                <c:pt idx="13">
                  <c:v>2.3865453392470002</c:v>
                </c:pt>
                <c:pt idx="14">
                  <c:v>5.083487199597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D-4C6E-9F7A-BB34FB4B8147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Symptomatičtí pozitivní na 100 000 obyvatel za 7 dní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Zlínský kraj</c:v>
                </c:pt>
                <c:pt idx="4">
                  <c:v>Hlavní město Praha</c:v>
                </c:pt>
                <c:pt idx="5">
                  <c:v>Moravskoslezský kraj</c:v>
                </c:pt>
                <c:pt idx="6">
                  <c:v>ČR</c:v>
                </c:pt>
                <c:pt idx="7">
                  <c:v>Kraj Vysočina</c:v>
                </c:pt>
                <c:pt idx="8">
                  <c:v>Středočeský kraj</c:v>
                </c:pt>
                <c:pt idx="9">
                  <c:v>Jihomoravský kraj</c:v>
                </c:pt>
                <c:pt idx="10">
                  <c:v>Olomoucký kraj</c:v>
                </c:pt>
                <c:pt idx="11">
                  <c:v>Úst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5.849559708554001</c:v>
                </c:pt>
                <c:pt idx="1">
                  <c:v>19.436082408989002</c:v>
                </c:pt>
                <c:pt idx="2">
                  <c:v>12.520282010892</c:v>
                </c:pt>
                <c:pt idx="3">
                  <c:v>15.686436748322</c:v>
                </c:pt>
                <c:pt idx="4">
                  <c:v>10.111723307297</c:v>
                </c:pt>
                <c:pt idx="5">
                  <c:v>14.251773507462</c:v>
                </c:pt>
                <c:pt idx="6">
                  <c:v>10.540305595976999</c:v>
                </c:pt>
                <c:pt idx="7">
                  <c:v>6.4851862624100001</c:v>
                </c:pt>
                <c:pt idx="8">
                  <c:v>7.0100293491330001</c:v>
                </c:pt>
                <c:pt idx="9">
                  <c:v>9.1188436302360003</c:v>
                </c:pt>
                <c:pt idx="10">
                  <c:v>10.943313635368</c:v>
                </c:pt>
                <c:pt idx="11">
                  <c:v>9.7918737239959999</c:v>
                </c:pt>
                <c:pt idx="12">
                  <c:v>9.5628624324859999</c:v>
                </c:pt>
                <c:pt idx="13">
                  <c:v>1.7046752423189999</c:v>
                </c:pt>
                <c:pt idx="14">
                  <c:v>4.357274742511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FD-4C6E-9F7A-BB34FB4B8147}"/>
            </c:ext>
          </c:extLst>
        </c:ser>
        <c:ser>
          <c:idx val="1"/>
          <c:order val="3"/>
          <c:tx>
            <c:strRef>
              <c:f>Sheet1!$E$1</c:f>
              <c:strCache>
                <c:ptCount val="1"/>
                <c:pt idx="0">
                  <c:v>5.6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Zlínský kraj</c:v>
                </c:pt>
                <c:pt idx="4">
                  <c:v>Hlavní město Praha</c:v>
                </c:pt>
                <c:pt idx="5">
                  <c:v>Moravskoslezský kraj</c:v>
                </c:pt>
                <c:pt idx="6">
                  <c:v>ČR</c:v>
                </c:pt>
                <c:pt idx="7">
                  <c:v>Kraj Vysočina</c:v>
                </c:pt>
                <c:pt idx="8">
                  <c:v>Středočeský kraj</c:v>
                </c:pt>
                <c:pt idx="9">
                  <c:v>Jihomoravský kraj</c:v>
                </c:pt>
                <c:pt idx="10">
                  <c:v>Olomoucký kraj</c:v>
                </c:pt>
                <c:pt idx="11">
                  <c:v>Úst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2.897190743235001</c:v>
                </c:pt>
                <c:pt idx="1">
                  <c:v>8.5880364132740006</c:v>
                </c:pt>
                <c:pt idx="2">
                  <c:v>7.9520710069179996</c:v>
                </c:pt>
                <c:pt idx="3">
                  <c:v>7.757029161258</c:v>
                </c:pt>
                <c:pt idx="4">
                  <c:v>6.8909521797869999</c:v>
                </c:pt>
                <c:pt idx="5">
                  <c:v>6.0360452502189998</c:v>
                </c:pt>
                <c:pt idx="6">
                  <c:v>5.9896594743089997</c:v>
                </c:pt>
                <c:pt idx="7">
                  <c:v>5.6991030790870001</c:v>
                </c:pt>
                <c:pt idx="8">
                  <c:v>5.2217565559860004</c:v>
                </c:pt>
                <c:pt idx="9">
                  <c:v>5.1032060682970002</c:v>
                </c:pt>
                <c:pt idx="10">
                  <c:v>4.75796245016</c:v>
                </c:pt>
                <c:pt idx="11">
                  <c:v>4.5287415973479996</c:v>
                </c:pt>
                <c:pt idx="12">
                  <c:v>3.8251449729939999</c:v>
                </c:pt>
                <c:pt idx="13">
                  <c:v>1.7046752423189999</c:v>
                </c:pt>
                <c:pt idx="14">
                  <c:v>1.633978028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AA-41EA-9F16-8BB4B107D4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8485</cdr:x>
      <cdr:y>0.21721</cdr:y>
    </cdr:from>
    <cdr:to>
      <cdr:x>0.96316</cdr:x>
      <cdr:y>0.49413</cdr:y>
    </cdr:to>
    <cdr:sp macro="" textlink="">
      <cdr:nvSpPr>
        <cdr:cNvPr id="2" name="TextovéPole 16"/>
        <cdr:cNvSpPr txBox="1"/>
      </cdr:nvSpPr>
      <cdr:spPr>
        <a:xfrm xmlns:a="http://schemas.openxmlformats.org/drawingml/2006/main">
          <a:off x="5723892" y="1086394"/>
          <a:ext cx="5646577" cy="138499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cs-CZ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cs-CZ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Nové modely jsou zpracovány</a:t>
          </a:r>
          <a:r>
            <a:rPr kumimoji="0" lang="cs-CZ" sz="1400" b="0" i="0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 pro více možných scénářů vývoje, včetně rizikového trendu růstu epidemie v populaci při R 1,1. I tento scénář ale ukazuje na stabilitu stávající situace </a:t>
          </a:r>
          <a:r>
            <a:rPr kumimoji="0" lang="cs-CZ" sz="1400" b="0" i="0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danou </a:t>
          </a:r>
          <a:r>
            <a:rPr kumimoji="0" lang="cs-CZ" sz="1400" b="0" i="0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očkováním – predikované nárůsty hospitalizací nejsou prudké. Nejrizikovějším faktorem, který by tyto predikce mohl narušit, by bylo šíření nové mutace viru – zejména forem rezistentních k vakcinaci.  </a:t>
          </a:r>
          <a:endParaRPr kumimoji="0" lang="cs-CZ" sz="1400" b="0" i="0" u="none" strike="noStrike" kern="120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Arial" panose="020B0604020202020204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86076</cdr:x>
      <cdr:y>0.50823</cdr:y>
    </cdr:from>
    <cdr:to>
      <cdr:x>0.92327</cdr:x>
      <cdr:y>0.59819</cdr:y>
    </cdr:to>
    <cdr:sp macro="" textlink="">
      <cdr:nvSpPr>
        <cdr:cNvPr id="3" name="Šipka dolů 2"/>
        <cdr:cNvSpPr/>
      </cdr:nvSpPr>
      <cdr:spPr>
        <a:xfrm xmlns:a="http://schemas.openxmlformats.org/drawingml/2006/main">
          <a:off x="10161557" y="2541923"/>
          <a:ext cx="738002" cy="449915"/>
        </a:xfrm>
        <a:prstGeom xmlns:a="http://schemas.openxmlformats.org/drawingml/2006/main" prst="down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cs-CZ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cs-CZ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7549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31398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58992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52875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38622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52867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7584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4048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88729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50896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6275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1098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81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411192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257283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7463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8895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4.svg"/><Relationship Id="rId4" Type="http://schemas.openxmlformats.org/officeDocument/2006/relationships/image" Target="../media/image10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8.svg"/><Relationship Id="rId5" Type="http://schemas.openxmlformats.org/officeDocument/2006/relationships/image" Target="../media/image15.png"/><Relationship Id="rId4" Type="http://schemas.openxmlformats.org/officeDocument/2006/relationships/image" Target="../media/image6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8.svg"/><Relationship Id="rId5" Type="http://schemas.openxmlformats.org/officeDocument/2006/relationships/image" Target="../media/image15.png"/><Relationship Id="rId4" Type="http://schemas.openxmlformats.org/officeDocument/2006/relationships/image" Target="../media/image6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8.svg"/><Relationship Id="rId5" Type="http://schemas.openxmlformats.org/officeDocument/2006/relationships/image" Target="../media/image15.png"/><Relationship Id="rId4" Type="http://schemas.openxmlformats.org/officeDocument/2006/relationships/image" Target="../media/image16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2128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0735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778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5808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42975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24475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669311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8637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420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2944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401797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6105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9639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8725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2668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043807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93813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797504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23438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8347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74465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0448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19802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57936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998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3875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31526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478461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995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57196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2112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4525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98260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7416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02704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259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5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Relationship Id="rId9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7.sv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5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87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8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97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4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995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027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4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461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00475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" Type="http://schemas.openxmlformats.org/officeDocument/2006/relationships/tags" Target="../tags/tag16.xml"/><Relationship Id="rId21" Type="http://schemas.openxmlformats.org/officeDocument/2006/relationships/image" Target="../media/image17.png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slideLayout" Target="../slideLayouts/slideLayout43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3" Type="http://schemas.openxmlformats.org/officeDocument/2006/relationships/tags" Target="../tags/tag35.xml"/><Relationship Id="rId21" Type="http://schemas.openxmlformats.org/officeDocument/2006/relationships/image" Target="../media/image19.png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slideLayout" Target="../slideLayouts/slideLayout43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3.xml"/><Relationship Id="rId4" Type="http://schemas.openxmlformats.org/officeDocument/2006/relationships/tags" Target="../tags/tag5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32.xml"/><Relationship Id="rId4" Type="http://schemas.openxmlformats.org/officeDocument/2006/relationships/tags" Target="../tags/tag5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2" Type="http://schemas.openxmlformats.org/officeDocument/2006/relationships/tags" Target="../tags/tag61.xml"/><Relationship Id="rId16" Type="http://schemas.openxmlformats.org/officeDocument/2006/relationships/chart" Target="../charts/chart8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chart" Target="../charts/chart7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chart" Target="../charts/chart10.xml"/><Relationship Id="rId2" Type="http://schemas.openxmlformats.org/officeDocument/2006/relationships/tags" Target="../tags/tag74.xml"/><Relationship Id="rId16" Type="http://schemas.openxmlformats.org/officeDocument/2006/relationships/chart" Target="../charts/chart9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Layout" Target="../slideLayouts/slideLayout32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2" Type="http://schemas.openxmlformats.org/officeDocument/2006/relationships/tags" Target="../tags/tag88.xml"/><Relationship Id="rId16" Type="http://schemas.openxmlformats.org/officeDocument/2006/relationships/chart" Target="../charts/chart12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chart" Target="../charts/chart11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slideLayout" Target="../slideLayouts/slideLayout3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chart" Target="../charts/chart15.xml"/><Relationship Id="rId5" Type="http://schemas.openxmlformats.org/officeDocument/2006/relationships/tags" Target="../tags/tag104.xml"/><Relationship Id="rId10" Type="http://schemas.openxmlformats.org/officeDocument/2006/relationships/chart" Target="../charts/chart14.xml"/><Relationship Id="rId4" Type="http://schemas.openxmlformats.org/officeDocument/2006/relationships/tags" Target="../tags/tag103.xml"/><Relationship Id="rId9" Type="http://schemas.openxmlformats.org/officeDocument/2006/relationships/chart" Target="../charts/chart1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chart" Target="../charts/chart18.xml"/><Relationship Id="rId5" Type="http://schemas.openxmlformats.org/officeDocument/2006/relationships/tags" Target="../tags/tag111.xml"/><Relationship Id="rId10" Type="http://schemas.openxmlformats.org/officeDocument/2006/relationships/chart" Target="../charts/chart17.xml"/><Relationship Id="rId4" Type="http://schemas.openxmlformats.org/officeDocument/2006/relationships/tags" Target="../tags/tag110.xml"/><Relationship Id="rId9" Type="http://schemas.openxmlformats.org/officeDocument/2006/relationships/chart" Target="../charts/char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4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12" Type="http://schemas.openxmlformats.org/officeDocument/2006/relationships/image" Target="../media/image23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121.xml"/><Relationship Id="rId10" Type="http://schemas.openxmlformats.org/officeDocument/2006/relationships/tags" Target="../tags/tag126.xml"/><Relationship Id="rId4" Type="http://schemas.openxmlformats.org/officeDocument/2006/relationships/tags" Target="../tags/tag120.xml"/><Relationship Id="rId9" Type="http://schemas.openxmlformats.org/officeDocument/2006/relationships/tags" Target="../tags/tag1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24.png"/><Relationship Id="rId5" Type="http://schemas.openxmlformats.org/officeDocument/2006/relationships/tags" Target="../tags/tag131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30.xml"/><Relationship Id="rId9" Type="http://schemas.openxmlformats.org/officeDocument/2006/relationships/tags" Target="../tags/tag13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image" Target="../media/image24.png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140.xml"/><Relationship Id="rId10" Type="http://schemas.openxmlformats.org/officeDocument/2006/relationships/tags" Target="../tags/tag145.xml"/><Relationship Id="rId4" Type="http://schemas.openxmlformats.org/officeDocument/2006/relationships/tags" Target="../tags/tag139.xml"/><Relationship Id="rId9" Type="http://schemas.openxmlformats.org/officeDocument/2006/relationships/tags" Target="../tags/tag14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image" Target="../media/image25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7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image" Target="../media/image26.png"/><Relationship Id="rId5" Type="http://schemas.openxmlformats.org/officeDocument/2006/relationships/tags" Target="../tags/tag161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13" Type="http://schemas.openxmlformats.org/officeDocument/2006/relationships/image" Target="../media/image26.png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12" Type="http://schemas.openxmlformats.org/officeDocument/2006/relationships/slideLayout" Target="../slideLayouts/slideLayout3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tags" Target="../tags/tag176.xml"/><Relationship Id="rId5" Type="http://schemas.openxmlformats.org/officeDocument/2006/relationships/tags" Target="../tags/tag170.xml"/><Relationship Id="rId10" Type="http://schemas.openxmlformats.org/officeDocument/2006/relationships/tags" Target="../tags/tag175.xml"/><Relationship Id="rId4" Type="http://schemas.openxmlformats.org/officeDocument/2006/relationships/tags" Target="../tags/tag169.xml"/><Relationship Id="rId9" Type="http://schemas.openxmlformats.org/officeDocument/2006/relationships/tags" Target="../tags/tag17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4" Type="http://schemas.openxmlformats.org/officeDocument/2006/relationships/chart" Target="../charts/char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chart" Target="../charts/chart20.xml"/><Relationship Id="rId4" Type="http://schemas.openxmlformats.org/officeDocument/2006/relationships/notesSlide" Target="../notesSlides/notesSlide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chart" Target="../charts/chart21.xml"/><Relationship Id="rId4" Type="http://schemas.openxmlformats.org/officeDocument/2006/relationships/notesSlide" Target="../notesSlides/notesSlide9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185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chart" Target="../charts/chart22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19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chart" Target="../charts/chart23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19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13" Type="http://schemas.openxmlformats.org/officeDocument/2006/relationships/chart" Target="../charts/chart24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12" Type="http://schemas.openxmlformats.org/officeDocument/2006/relationships/slideLayout" Target="../slideLayouts/slideLayout18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11" Type="http://schemas.openxmlformats.org/officeDocument/2006/relationships/tags" Target="../tags/tag208.xml"/><Relationship Id="rId5" Type="http://schemas.openxmlformats.org/officeDocument/2006/relationships/tags" Target="../tags/tag202.xml"/><Relationship Id="rId10" Type="http://schemas.openxmlformats.org/officeDocument/2006/relationships/tags" Target="../tags/tag207.xml"/><Relationship Id="rId4" Type="http://schemas.openxmlformats.org/officeDocument/2006/relationships/tags" Target="../tags/tag201.xml"/><Relationship Id="rId9" Type="http://schemas.openxmlformats.org/officeDocument/2006/relationships/tags" Target="../tags/tag206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13" Type="http://schemas.openxmlformats.org/officeDocument/2006/relationships/chart" Target="../charts/chart25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slideLayout" Target="../slideLayouts/slideLayout18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tags" Target="../tags/tag219.xml"/><Relationship Id="rId5" Type="http://schemas.openxmlformats.org/officeDocument/2006/relationships/tags" Target="../tags/tag213.xml"/><Relationship Id="rId10" Type="http://schemas.openxmlformats.org/officeDocument/2006/relationships/tags" Target="../tags/tag218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slideLayout" Target="../slideLayouts/slideLayout55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tags" Target="../tags/tag231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11" Type="http://schemas.openxmlformats.org/officeDocument/2006/relationships/tags" Target="../tags/tag230.xml"/><Relationship Id="rId5" Type="http://schemas.openxmlformats.org/officeDocument/2006/relationships/tags" Target="../tags/tag224.xml"/><Relationship Id="rId10" Type="http://schemas.openxmlformats.org/officeDocument/2006/relationships/tags" Target="../tags/tag229.xml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4" Type="http://schemas.openxmlformats.org/officeDocument/2006/relationships/notesSlide" Target="../notesSlides/notesSlide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232.xml"/><Relationship Id="rId4" Type="http://schemas.openxmlformats.org/officeDocument/2006/relationships/chart" Target="../charts/chart2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0.xml"/><Relationship Id="rId1" Type="http://schemas.openxmlformats.org/officeDocument/2006/relationships/tags" Target="../tags/tag233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chart" Target="../charts/chart28.xml"/><Relationship Id="rId5" Type="http://schemas.openxmlformats.org/officeDocument/2006/relationships/tags" Target="../tags/tag238.xml"/><Relationship Id="rId10" Type="http://schemas.openxmlformats.org/officeDocument/2006/relationships/notesSlide" Target="../notesSlides/notesSlide16.xml"/><Relationship Id="rId4" Type="http://schemas.openxmlformats.org/officeDocument/2006/relationships/tags" Target="../tags/tag237.xml"/><Relationship Id="rId9" Type="http://schemas.openxmlformats.org/officeDocument/2006/relationships/slideLayout" Target="../slideLayouts/slideLayout4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250.xml"/><Relationship Id="rId13" Type="http://schemas.openxmlformats.org/officeDocument/2006/relationships/notesSlide" Target="../notesSlides/notesSlide17.xml"/><Relationship Id="rId3" Type="http://schemas.openxmlformats.org/officeDocument/2006/relationships/tags" Target="../tags/tag245.xml"/><Relationship Id="rId7" Type="http://schemas.openxmlformats.org/officeDocument/2006/relationships/tags" Target="../tags/tag249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tags" Target="../tags/tag248.xml"/><Relationship Id="rId11" Type="http://schemas.openxmlformats.org/officeDocument/2006/relationships/tags" Target="../tags/tag253.xml"/><Relationship Id="rId5" Type="http://schemas.openxmlformats.org/officeDocument/2006/relationships/tags" Target="../tags/tag247.xml"/><Relationship Id="rId10" Type="http://schemas.openxmlformats.org/officeDocument/2006/relationships/tags" Target="../tags/tag252.xml"/><Relationship Id="rId4" Type="http://schemas.openxmlformats.org/officeDocument/2006/relationships/tags" Target="../tags/tag246.xml"/><Relationship Id="rId9" Type="http://schemas.openxmlformats.org/officeDocument/2006/relationships/tags" Target="../tags/tag251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13" Type="http://schemas.openxmlformats.org/officeDocument/2006/relationships/tags" Target="../tags/tag266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12" Type="http://schemas.openxmlformats.org/officeDocument/2006/relationships/tags" Target="../tags/tag265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tags" Target="../tags/tag264.xml"/><Relationship Id="rId5" Type="http://schemas.openxmlformats.org/officeDocument/2006/relationships/tags" Target="../tags/tag258.xml"/><Relationship Id="rId15" Type="http://schemas.openxmlformats.org/officeDocument/2006/relationships/notesSlide" Target="../notesSlides/notesSlide18.xml"/><Relationship Id="rId10" Type="http://schemas.openxmlformats.org/officeDocument/2006/relationships/tags" Target="../tags/tag263.xml"/><Relationship Id="rId4" Type="http://schemas.openxmlformats.org/officeDocument/2006/relationships/tags" Target="../tags/tag257.xml"/><Relationship Id="rId9" Type="http://schemas.openxmlformats.org/officeDocument/2006/relationships/tags" Target="../tags/tag262.xml"/><Relationship Id="rId14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chart" Target="../charts/chart29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271.xml"/><Relationship Id="rId10" Type="http://schemas.openxmlformats.org/officeDocument/2006/relationships/tags" Target="../tags/tag276.xml"/><Relationship Id="rId4" Type="http://schemas.openxmlformats.org/officeDocument/2006/relationships/tags" Target="../tags/tag270.xml"/><Relationship Id="rId9" Type="http://schemas.openxmlformats.org/officeDocument/2006/relationships/tags" Target="../tags/tag275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279.xml"/><Relationship Id="rId7" Type="http://schemas.openxmlformats.org/officeDocument/2006/relationships/slideLayout" Target="../slideLayouts/slideLayout37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5" Type="http://schemas.openxmlformats.org/officeDocument/2006/relationships/tags" Target="../tags/tag281.xml"/><Relationship Id="rId10" Type="http://schemas.openxmlformats.org/officeDocument/2006/relationships/chart" Target="../charts/chart31.xml"/><Relationship Id="rId4" Type="http://schemas.openxmlformats.org/officeDocument/2006/relationships/tags" Target="../tags/tag280.xml"/><Relationship Id="rId9" Type="http://schemas.openxmlformats.org/officeDocument/2006/relationships/chart" Target="../charts/chart30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tags" Target="../tags/tag295.xml"/><Relationship Id="rId18" Type="http://schemas.openxmlformats.org/officeDocument/2006/relationships/tags" Target="../tags/tag300.xml"/><Relationship Id="rId26" Type="http://schemas.openxmlformats.org/officeDocument/2006/relationships/chart" Target="../charts/chart33.xml"/><Relationship Id="rId3" Type="http://schemas.openxmlformats.org/officeDocument/2006/relationships/tags" Target="../tags/tag285.xml"/><Relationship Id="rId21" Type="http://schemas.openxmlformats.org/officeDocument/2006/relationships/tags" Target="../tags/tag303.xml"/><Relationship Id="rId7" Type="http://schemas.openxmlformats.org/officeDocument/2006/relationships/tags" Target="../tags/tag289.xml"/><Relationship Id="rId12" Type="http://schemas.openxmlformats.org/officeDocument/2006/relationships/tags" Target="../tags/tag294.xml"/><Relationship Id="rId17" Type="http://schemas.openxmlformats.org/officeDocument/2006/relationships/tags" Target="../tags/tag299.xml"/><Relationship Id="rId25" Type="http://schemas.openxmlformats.org/officeDocument/2006/relationships/chart" Target="../charts/chart32.xml"/><Relationship Id="rId2" Type="http://schemas.openxmlformats.org/officeDocument/2006/relationships/tags" Target="../tags/tag284.xml"/><Relationship Id="rId16" Type="http://schemas.openxmlformats.org/officeDocument/2006/relationships/tags" Target="../tags/tag298.xml"/><Relationship Id="rId20" Type="http://schemas.openxmlformats.org/officeDocument/2006/relationships/tags" Target="../tags/tag302.xml"/><Relationship Id="rId29" Type="http://schemas.openxmlformats.org/officeDocument/2006/relationships/chart" Target="../charts/chart36.xml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11" Type="http://schemas.openxmlformats.org/officeDocument/2006/relationships/tags" Target="../tags/tag293.xml"/><Relationship Id="rId24" Type="http://schemas.openxmlformats.org/officeDocument/2006/relationships/notesSlide" Target="../notesSlides/notesSlide20.xml"/><Relationship Id="rId5" Type="http://schemas.openxmlformats.org/officeDocument/2006/relationships/tags" Target="../tags/tag287.xml"/><Relationship Id="rId15" Type="http://schemas.openxmlformats.org/officeDocument/2006/relationships/tags" Target="../tags/tag297.xml"/><Relationship Id="rId23" Type="http://schemas.openxmlformats.org/officeDocument/2006/relationships/slideLayout" Target="../slideLayouts/slideLayout37.xml"/><Relationship Id="rId28" Type="http://schemas.openxmlformats.org/officeDocument/2006/relationships/chart" Target="../charts/chart35.xml"/><Relationship Id="rId10" Type="http://schemas.openxmlformats.org/officeDocument/2006/relationships/tags" Target="../tags/tag292.xml"/><Relationship Id="rId19" Type="http://schemas.openxmlformats.org/officeDocument/2006/relationships/tags" Target="../tags/tag301.xml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4" Type="http://schemas.openxmlformats.org/officeDocument/2006/relationships/tags" Target="../tags/tag296.xml"/><Relationship Id="rId22" Type="http://schemas.openxmlformats.org/officeDocument/2006/relationships/tags" Target="../tags/tag304.xml"/><Relationship Id="rId27" Type="http://schemas.openxmlformats.org/officeDocument/2006/relationships/chart" Target="../charts/chart34.xml"/><Relationship Id="rId30" Type="http://schemas.openxmlformats.org/officeDocument/2006/relationships/chart" Target="../charts/chart3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tags" Target="../tags/tag317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12" Type="http://schemas.openxmlformats.org/officeDocument/2006/relationships/tags" Target="../tags/tag316.xml"/><Relationship Id="rId2" Type="http://schemas.openxmlformats.org/officeDocument/2006/relationships/tags" Target="../tags/tag306.xml"/><Relationship Id="rId16" Type="http://schemas.openxmlformats.org/officeDocument/2006/relationships/chart" Target="../charts/chart39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1" Type="http://schemas.openxmlformats.org/officeDocument/2006/relationships/tags" Target="../tags/tag315.xml"/><Relationship Id="rId5" Type="http://schemas.openxmlformats.org/officeDocument/2006/relationships/tags" Target="../tags/tag309.xml"/><Relationship Id="rId15" Type="http://schemas.openxmlformats.org/officeDocument/2006/relationships/chart" Target="../charts/chart38.xml"/><Relationship Id="rId10" Type="http://schemas.openxmlformats.org/officeDocument/2006/relationships/tags" Target="../tags/tag314.xml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4" Type="http://schemas.openxmlformats.org/officeDocument/2006/relationships/slideLayout" Target="../slideLayouts/slideLayout32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tags" Target="../tags/tag330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12" Type="http://schemas.openxmlformats.org/officeDocument/2006/relationships/tags" Target="../tags/tag329.xml"/><Relationship Id="rId2" Type="http://schemas.openxmlformats.org/officeDocument/2006/relationships/tags" Target="../tags/tag319.xml"/><Relationship Id="rId16" Type="http://schemas.openxmlformats.org/officeDocument/2006/relationships/chart" Target="../charts/chart41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11" Type="http://schemas.openxmlformats.org/officeDocument/2006/relationships/tags" Target="../tags/tag328.xml"/><Relationship Id="rId5" Type="http://schemas.openxmlformats.org/officeDocument/2006/relationships/tags" Target="../tags/tag322.xml"/><Relationship Id="rId15" Type="http://schemas.openxmlformats.org/officeDocument/2006/relationships/chart" Target="../charts/chart40.xml"/><Relationship Id="rId10" Type="http://schemas.openxmlformats.org/officeDocument/2006/relationships/tags" Target="../tags/tag327.xml"/><Relationship Id="rId4" Type="http://schemas.openxmlformats.org/officeDocument/2006/relationships/tags" Target="../tags/tag321.xml"/><Relationship Id="rId9" Type="http://schemas.openxmlformats.org/officeDocument/2006/relationships/tags" Target="../tags/tag326.xml"/><Relationship Id="rId14" Type="http://schemas.openxmlformats.org/officeDocument/2006/relationships/slideLayout" Target="../slideLayouts/slideLayout32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13" Type="http://schemas.openxmlformats.org/officeDocument/2006/relationships/tags" Target="../tags/tag343.xml"/><Relationship Id="rId18" Type="http://schemas.openxmlformats.org/officeDocument/2006/relationships/chart" Target="../charts/chart42.xml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tags" Target="../tags/tag342.xml"/><Relationship Id="rId17" Type="http://schemas.openxmlformats.org/officeDocument/2006/relationships/slideLayout" Target="../slideLayouts/slideLayout32.xml"/><Relationship Id="rId2" Type="http://schemas.openxmlformats.org/officeDocument/2006/relationships/tags" Target="../tags/tag332.xml"/><Relationship Id="rId16" Type="http://schemas.openxmlformats.org/officeDocument/2006/relationships/tags" Target="../tags/tag346.xml"/><Relationship Id="rId1" Type="http://schemas.openxmlformats.org/officeDocument/2006/relationships/tags" Target="../tags/tag331.xml"/><Relationship Id="rId6" Type="http://schemas.openxmlformats.org/officeDocument/2006/relationships/tags" Target="../tags/tag336.xml"/><Relationship Id="rId11" Type="http://schemas.openxmlformats.org/officeDocument/2006/relationships/tags" Target="../tags/tag341.xml"/><Relationship Id="rId5" Type="http://schemas.openxmlformats.org/officeDocument/2006/relationships/tags" Target="../tags/tag335.xml"/><Relationship Id="rId15" Type="http://schemas.openxmlformats.org/officeDocument/2006/relationships/tags" Target="../tags/tag345.xml"/><Relationship Id="rId10" Type="http://schemas.openxmlformats.org/officeDocument/2006/relationships/tags" Target="../tags/tag340.xml"/><Relationship Id="rId19" Type="http://schemas.openxmlformats.org/officeDocument/2006/relationships/chart" Target="../charts/chart43.xml"/><Relationship Id="rId4" Type="http://schemas.openxmlformats.org/officeDocument/2006/relationships/tags" Target="../tags/tag334.xml"/><Relationship Id="rId9" Type="http://schemas.openxmlformats.org/officeDocument/2006/relationships/tags" Target="../tags/tag339.xml"/><Relationship Id="rId14" Type="http://schemas.openxmlformats.org/officeDocument/2006/relationships/tags" Target="../tags/tag34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14. </a:t>
            </a:r>
            <a:r>
              <a:rPr lang="cs-CZ" sz="4800" b="1" dirty="0"/>
              <a:t>6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108461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podle věku – aplikované dávky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211899" y="3171829"/>
            <a:ext cx="4988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aplikovaných dávek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/>
          </p:nvPr>
        </p:nvGraphicFramePr>
        <p:xfrm>
          <a:off x="561974" y="759913"/>
          <a:ext cx="11377929" cy="581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280362" y="1316917"/>
          <a:ext cx="1721139" cy="4500001"/>
        </p:xfrm>
        <a:graphic>
          <a:graphicData uri="http://schemas.openxmlformats.org/drawingml/2006/table">
            <a:tbl>
              <a:tblPr/>
              <a:tblGrid>
                <a:gridCol w="849812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871327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–7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6 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–6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2 0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+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5 7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–6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 4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415959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–5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 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06629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–4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4 7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853299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–5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9 9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409393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–4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1 9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445733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30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 0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872275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–39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1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620128"/>
                  </a:ext>
                </a:extLst>
              </a:tr>
              <a:tr h="4090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–34 le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 5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989975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15589288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Vývoj v regionech </a:t>
            </a:r>
          </a:p>
          <a:p>
            <a:r>
              <a:rPr lang="cs-CZ" sz="4800" b="1" i="1" dirty="0"/>
              <a:t>- Identifikace rizik -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9519946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0" y="1972805"/>
            <a:ext cx="11910383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éměř všechny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y klesly významně pod hranici týdenních záchytů nákazy </a:t>
            </a:r>
            <a:r>
              <a:rPr lang="cs-CZ" sz="3200" b="1" dirty="0" smtClean="0">
                <a:solidFill>
                  <a:srgbClr val="0000FF"/>
                </a:solidFill>
                <a:latin typeface="Calibri" panose="020F0502020204030204"/>
              </a:rPr>
              <a:t>25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100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obyvatel.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jimkou je Jihočeský kraj, ale i u něj je trend zátěže silně klesající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em 7 regionů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 dlouhodobě drží pod hranicí 7denních záchytů nákazy 12,5 / 100tis. obyv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se postupně </a:t>
            </a:r>
            <a:r>
              <a:rPr lang="cs-CZ" sz="4000" b="1" dirty="0">
                <a:solidFill>
                  <a:prstClr val="black"/>
                </a:solidFill>
                <a:latin typeface="Calibri" panose="020F0502020204030204"/>
              </a:rPr>
              <a:t>zmenšuj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íly</a:t>
            </a: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88511" y="3674849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088510" y="604135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8637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07FF853E-BE47-49BE-A1DE-A1BD17A8BE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39689" y="1283698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6.20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554548" y="2218096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9554548" y="2526822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9554548" y="2835548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9554548" y="3144274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9554548" y="3453000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94304" y="2123430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794304" y="243472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794304" y="274601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794304" y="305730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794304" y="336859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9554548" y="3761725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9554548" y="4070449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794304" y="367988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794304" y="399117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554548" y="1943430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9794304" y="1879542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554548" y="1653088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794304" y="1589200"/>
            <a:ext cx="9957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 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Box 29">
            <a:extLst>
              <a:ext uri="{FF2B5EF4-FFF2-40B4-BE49-F238E27FC236}">
                <a16:creationId xmlns:a16="http://schemas.microsoft.com/office/drawing/2014/main" id="{D586CC7F-5941-4F05-9FC8-AD3DC629C44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4784195" y="1236451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6.2021</a:t>
            </a:r>
          </a:p>
        </p:txBody>
      </p:sp>
      <p:sp>
        <p:nvSpPr>
          <p:cNvPr id="2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54444" y="4836692"/>
            <a:ext cx="11027955" cy="17165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poklesu virové zátěže dochází i v regionech, kde v posledních týdnech přetrvávaly vyšší počty nových případů – tedy v JČK, LBK a ZLK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lang="cs-CZ" b="1" dirty="0" smtClean="0">
                <a:solidFill>
                  <a:prstClr val="black"/>
                </a:solidFill>
                <a:latin typeface="Calibri" panose="020F0502020204030204"/>
              </a:rPr>
              <a:t>Na úrovni celých krajů není pozorován žádný rizikový vývoj, potenciálně rizikové trendy jsou registrovány pouze na úrovni okresů nebo ORP. Žádný z okresů nicméně dlouhodobě v hodnotách epidemických indikátorů neroste, rizikové výkyvy jsou dočasné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72C0F43-AA2D-4190-92A2-DA88FB03C4B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554548" y="1367242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7F72A3E-D55C-4A77-863C-B5BD05190F5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794304" y="130335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3359C0C9-DFE6-4E32-86B9-85B7E3728AF4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951" y="1636561"/>
            <a:ext cx="3819512" cy="2520000"/>
          </a:xfrm>
          <a:prstGeom prst="rect">
            <a:avLst/>
          </a:prstGeom>
        </p:spPr>
      </p:pic>
      <p:pic>
        <p:nvPicPr>
          <p:cNvPr id="23" name="Picture 22" descr="Map&#10;&#10;Description automatically generated">
            <a:extLst>
              <a:ext uri="{FF2B5EF4-FFF2-40B4-BE49-F238E27FC236}">
                <a16:creationId xmlns:a16="http://schemas.microsoft.com/office/drawing/2014/main" id="{78112DCA-C20A-48A0-A26D-8F3C013E920B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001" y="1715838"/>
            <a:ext cx="3819512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959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cs-CZ" dirty="0"/>
              <a:t>ORP</a:t>
            </a:r>
            <a:endParaRPr lang="cs-CZ" dirty="0">
              <a:latin typeface="+mj-lt"/>
            </a:endParaRP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07FF853E-BE47-49BE-A1DE-A1BD17A8BE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2618" y="1105609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6.2021</a:t>
            </a:r>
          </a:p>
        </p:txBody>
      </p:sp>
      <p:sp>
        <p:nvSpPr>
          <p:cNvPr id="26" name="TextBox 29">
            <a:extLst>
              <a:ext uri="{FF2B5EF4-FFF2-40B4-BE49-F238E27FC236}">
                <a16:creationId xmlns:a16="http://schemas.microsoft.com/office/drawing/2014/main" id="{77CD41C0-8423-4245-B11A-915A287FB56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939325" y="110560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6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6DA533D-9AA6-4235-B3D6-0096CA366F7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554548" y="2218096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0F9B2D6-4778-43E3-B98E-5EC8465786AF}"/>
              </a:ext>
            </a:extLst>
          </p:cNvPr>
          <p:cNvSpPr/>
          <p:nvPr/>
        </p:nvSpPr>
        <p:spPr>
          <a:xfrm>
            <a:off x="9554548" y="2526822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07F1A4A-FA9D-4A47-A922-1B251B902C72}"/>
              </a:ext>
            </a:extLst>
          </p:cNvPr>
          <p:cNvSpPr/>
          <p:nvPr/>
        </p:nvSpPr>
        <p:spPr>
          <a:xfrm>
            <a:off x="9554548" y="2835548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1EEC538-E62E-4ECC-A778-E278E2B9476C}"/>
              </a:ext>
            </a:extLst>
          </p:cNvPr>
          <p:cNvSpPr/>
          <p:nvPr/>
        </p:nvSpPr>
        <p:spPr>
          <a:xfrm>
            <a:off x="9554548" y="3144274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DF4DADA-62DA-4D7C-BEE5-575B28C59CD3}"/>
              </a:ext>
            </a:extLst>
          </p:cNvPr>
          <p:cNvSpPr/>
          <p:nvPr/>
        </p:nvSpPr>
        <p:spPr>
          <a:xfrm>
            <a:off x="9554548" y="3453000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775056E-D2D8-4A42-93BA-8AD5AE12087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794304" y="2123430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F6A747-9CB7-4324-9AD2-66BB7661482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794304" y="243472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1970D23-2A89-4954-B11F-F107C3FF8C4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794304" y="274601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257F127-642F-4FE1-A99D-F6D1BC53F26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794304" y="305730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FEC243-B207-455A-9FEC-61ED8EBA2E4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794304" y="336859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30AA543-8A4D-4DAF-8995-125FD8B9740E}"/>
              </a:ext>
            </a:extLst>
          </p:cNvPr>
          <p:cNvSpPr/>
          <p:nvPr/>
        </p:nvSpPr>
        <p:spPr>
          <a:xfrm>
            <a:off x="9554548" y="3761725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5B453F5-58DE-4531-B614-A6425C4ECDC7}"/>
              </a:ext>
            </a:extLst>
          </p:cNvPr>
          <p:cNvSpPr/>
          <p:nvPr/>
        </p:nvSpPr>
        <p:spPr>
          <a:xfrm>
            <a:off x="9554548" y="4070449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CE90649-6AC8-4B02-83B4-7BEEC4B21FE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794304" y="367988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7A2E242-16BE-43A3-A54C-553C4F1B3F82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794304" y="3991172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C737378-EE80-453C-9766-DBFF463FCE5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554548" y="1943430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55FBCF5-FF36-4D26-B8AB-48C580D765F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794304" y="1879542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C13340A-0D48-41A5-8B34-0BA78DAA051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554548" y="1653088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710957B-844A-4350-A2A6-C433DDDC464E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794304" y="1589200"/>
            <a:ext cx="9957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 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F6283F6-EF4A-46D7-8FC0-362446F992A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554548" y="1367242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D81AB04-090F-49D2-8801-552F995C391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9794304" y="130335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412EC28B-A904-452E-8D16-B3153D0EFA09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487" y="1407270"/>
            <a:ext cx="4220541" cy="2784587"/>
          </a:xfrm>
          <a:prstGeom prst="rect">
            <a:avLst/>
          </a:prstGeom>
        </p:spPr>
      </p:pic>
      <p:pic>
        <p:nvPicPr>
          <p:cNvPr id="23" name="Picture 22" descr="Map&#10;&#10;Description automatically generated">
            <a:extLst>
              <a:ext uri="{FF2B5EF4-FFF2-40B4-BE49-F238E27FC236}">
                <a16:creationId xmlns:a16="http://schemas.microsoft.com/office/drawing/2014/main" id="{E5486F7E-3CBA-4DF8-94A4-40742B8916B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165" y="1452761"/>
            <a:ext cx="4220541" cy="2784587"/>
          </a:xfrm>
          <a:prstGeom prst="rect">
            <a:avLst/>
          </a:prstGeom>
        </p:spPr>
      </p:pic>
      <p:sp>
        <p:nvSpPr>
          <p:cNvPr id="28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54444" y="4836692"/>
            <a:ext cx="11027955" cy="17165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poklesu virové zátěže dochází i v regionech, kde v posledních týdnech přetrvávaly vyšší počty nových případů – tedy v JČK, LBK a ZLK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lang="cs-CZ" b="1" dirty="0" smtClean="0">
                <a:solidFill>
                  <a:prstClr val="black"/>
                </a:solidFill>
                <a:latin typeface="Calibri" panose="020F0502020204030204"/>
              </a:rPr>
              <a:t>Na úrovni celých krajů není pozorován žádný rizikový vývoj, potenciálně rizikové trendy jsou registrovány pouze na úrovni okresů nebo ORP. Žádný z okresů nicméně dlouhodobě v hodnotách epidemických indikátorů neroste, rizikové výkyvy jsou dočasné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97573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14</a:t>
            </a:r>
            <a:r>
              <a:rPr lang="cs-CZ" dirty="0" smtClean="0"/>
              <a:t>.6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04563" y="1373577"/>
            <a:ext cx="498606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</a:rPr>
              <a:t>Rozdíly mezi regiony se postupně zmenšu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FF"/>
                </a:solidFill>
              </a:rPr>
              <a:t>Klesající trend je významný ve všech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 smtClean="0">
                <a:solidFill>
                  <a:srgbClr val="0000FF"/>
                </a:solidFill>
              </a:rPr>
              <a:t>Celkem 7 </a:t>
            </a:r>
            <a:r>
              <a:rPr lang="cs-CZ" sz="2000" b="1" dirty="0">
                <a:solidFill>
                  <a:srgbClr val="0000FF"/>
                </a:solidFill>
              </a:rPr>
              <a:t>krajů již </a:t>
            </a:r>
            <a:r>
              <a:rPr lang="cs-CZ" sz="2000" b="1" dirty="0" smtClean="0">
                <a:solidFill>
                  <a:srgbClr val="0000FF"/>
                </a:solidFill>
              </a:rPr>
              <a:t>kleslo </a:t>
            </a:r>
            <a:r>
              <a:rPr lang="cs-CZ" sz="2000" b="1" dirty="0">
                <a:solidFill>
                  <a:srgbClr val="0000FF"/>
                </a:solidFill>
              </a:rPr>
              <a:t>pod týdenní počet nových případů </a:t>
            </a:r>
            <a:r>
              <a:rPr lang="cs-CZ" sz="2000" b="1" dirty="0" smtClean="0">
                <a:solidFill>
                  <a:srgbClr val="0000FF"/>
                </a:solidFill>
              </a:rPr>
              <a:t>12,5/100tis</a:t>
            </a:r>
            <a:r>
              <a:rPr lang="cs-CZ" sz="2000" b="1" dirty="0">
                <a:solidFill>
                  <a:srgbClr val="0000FF"/>
                </a:solidFill>
              </a:rPr>
              <a:t>. obyv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35624324"/>
              </p:ext>
            </p:extLst>
          </p:nvPr>
        </p:nvGraphicFramePr>
        <p:xfrm>
          <a:off x="579564" y="1033447"/>
          <a:ext cx="6019644" cy="518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1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3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6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1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2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1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302242" y="5553355"/>
            <a:ext cx="4788389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elková hodnota za ČR pokles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pod </a:t>
            </a:r>
            <a:r>
              <a:rPr lang="cs-CZ" sz="2000" b="1" dirty="0">
                <a:latin typeface="Arial" panose="020B0604020202020204"/>
              </a:rPr>
              <a:t>1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772810" y="5597007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07207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13804" cy="576000"/>
          </a:xfrm>
        </p:spPr>
        <p:txBody>
          <a:bodyPr/>
          <a:lstStyle/>
          <a:p>
            <a:r>
              <a:rPr lang="cs-CZ" dirty="0"/>
              <a:t>Vybrané ukazatele – srovnání </a:t>
            </a:r>
            <a:r>
              <a:rPr lang="cs-CZ" dirty="0" smtClean="0"/>
              <a:t>regionů ve 14denním časovém okně</a:t>
            </a:r>
            <a:endParaRPr lang="cs-CZ" dirty="0"/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621792"/>
            <a:ext cx="11963400" cy="623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9872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8196204" cy="576000"/>
          </a:xfrm>
        </p:spPr>
        <p:txBody>
          <a:bodyPr/>
          <a:lstStyle/>
          <a:p>
            <a:r>
              <a:rPr lang="cs-CZ" dirty="0"/>
              <a:t>Vybrané ukazatele – srovnání </a:t>
            </a:r>
            <a:r>
              <a:rPr lang="cs-CZ" dirty="0" smtClean="0"/>
              <a:t>regionů v 7denním časovém okně</a:t>
            </a:r>
            <a:endParaRPr lang="cs-CZ" dirty="0"/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657" y="643128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459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5986" y="4110685"/>
            <a:ext cx="4768041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5741226"/>
              </p:ext>
            </p:extLst>
          </p:nvPr>
        </p:nvGraphicFramePr>
        <p:xfrm>
          <a:off x="270230" y="1097989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</a:t>
            </a:r>
            <a:r>
              <a:rPr lang="pl-PL" sz="2000" dirty="0" smtClean="0">
                <a:latin typeface="+mn-lt"/>
              </a:rPr>
              <a:t>13.6</a:t>
            </a:r>
            <a:r>
              <a:rPr lang="pl-PL" sz="2000" dirty="0">
                <a:latin typeface="+mn-lt"/>
              </a:rPr>
              <a:t>.</a:t>
            </a:r>
            <a:endParaRPr lang="cs-CZ" sz="2000" dirty="0">
              <a:latin typeface="+mn-lt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949" y="1310252"/>
            <a:ext cx="6156990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odnota reprodukčního čísla je &lt; 1 ve většině krajích</a:t>
            </a: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V 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raji Karlovarském a </a:t>
            </a: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 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raji Vysočina je reprodukční číslo &gt; </a:t>
            </a: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 vlivem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fluktuací na velmi malých počtech záchytů nemoci (zejména KVK)</a:t>
            </a: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Situaci na krajské úrovni zatím v těchto regionech nelze hodnotit jako rizikovou – bude denně sledováno. 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pidemie klesá a v důsledku toho se zmenšují rozdíly mezi regiony.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klesající virovou náloží nabývá na významu hodnocení rozdílů na úrovni okresů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18161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elativní pozitivita testů s diagnostickou/epidemiologickou indikací za 7 dní</a:t>
            </a:r>
            <a:endParaRPr lang="cs-CZ" sz="20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6D1E585-3993-416C-AF95-42C197FE79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72D653-29BB-46C3-83F2-8221BA928D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80593F-C2D7-48EC-9C6F-8A8D60EF29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D4B11B-8579-446E-91AF-8288C6B436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DAB7E79-4343-403B-91F5-3309618E2A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0394B2-B166-4AEA-96C1-E480F847DC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6439" y="3111541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76050" y="1994745"/>
            <a:ext cx="368550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y a klinicky indikovaných testů a testů z epidemiologické indikace  klesla od počátku května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kraje vykazují hodnoty tohoto indikátoru po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%.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klesající virovou náloží nabývá na významu hodnocení rozdílů na úrovni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kresů a ORP,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ikoli krajů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681979-8D7B-4CCB-B955-EFE9E629263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880431-BE22-4A6A-8973-100F5FFE2E4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6.2021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A2E89090-251C-4582-88E7-CFD732AB9B2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94131776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0EBEBF9-86C6-4A1D-B71D-64BB3EF2536F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15173734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05116" y="1739629"/>
            <a:ext cx="1182052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u="sng" dirty="0" smtClean="0">
                <a:solidFill>
                  <a:srgbClr val="0000FF"/>
                </a:solidFill>
                <a:latin typeface="Calibri" panose="020F0502020204030204"/>
              </a:rPr>
              <a:t>pod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Relativní pozitivita indikovaných testů dosáhla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elmi nízkých a bezpečných hodnot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Významný je i pokles nově nakažených potenciálně zranitelných skupin obyvatel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ůsledku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ho významně klesá zátěž nemocnic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odukční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íslo osciluje mezi 0,70 – 0,8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3" y="447727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3" y="602561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4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1939900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symptomatické případy za 7 dní na 100 000 obyvatel</a:t>
            </a:r>
            <a:endParaRPr lang="cs-CZ" sz="2000" dirty="0">
              <a:latin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7DA604F-A1A3-44C2-A908-EC9EB9AC53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919" y="3481117"/>
            <a:ext cx="8050306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02236300"/>
              </p:ext>
            </p:extLst>
          </p:nvPr>
        </p:nvGraphicFramePr>
        <p:xfrm>
          <a:off x="4961634" y="1118792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8B0B522C-5BE7-400C-9C38-FFD78A223EB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0606809"/>
              </p:ext>
            </p:extLst>
          </p:nvPr>
        </p:nvGraphicFramePr>
        <p:xfrm>
          <a:off x="224224" y="1118792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02044" y="1900442"/>
            <a:ext cx="328418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nově diagnostikovaných klesají případů se symptomy klesají v čase ve všech regione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výšené hodnoty vykazuje kraj Jihočeský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což koreluje s 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ě 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ále 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írně zvýšenou 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rovou náloží v 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i kraje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457175" y="765095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E28A43B-B8CE-4CA0-9E62-5D1B340E18D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F95BB39-28E6-4D54-A5B9-0BD3C5428A1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13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4E86AA1-BE9C-4E9C-B5DD-5783E525570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84F8BAA-8239-4608-983C-EB290DED434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F02E39D-5C41-4DFD-9BB1-86EC9D3223A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AB3E34B-A439-4715-8C2A-0A0FCB7FFE6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29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7D091E-7793-499C-982A-8833D6F4BB3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C3C4644-BCF4-4D5D-B09D-428A3734CFEA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6.2021</a:t>
            </a:r>
          </a:p>
        </p:txBody>
      </p:sp>
    </p:spTree>
    <p:extLst>
      <p:ext uri="{BB962C8B-B14F-4D97-AF65-F5344CB8AC3E}">
        <p14:creationId xmlns:p14="http://schemas.microsoft.com/office/powerpoint/2010/main" val="25079554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5</a:t>
            </a:r>
            <a:r>
              <a:rPr lang="pl-PL" sz="2000" dirty="0"/>
              <a:t>.6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503793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4" name="Chart 34">
            <a:extLst>
              <a:ext uri="{FF2B5EF4-FFF2-40B4-BE49-F238E27FC236}">
                <a16:creationId xmlns:a16="http://schemas.microsoft.com/office/drawing/2014/main" id="{CAF076D9-A235-470C-9BC7-C9DD9FE8D7F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65432561"/>
              </p:ext>
            </p:extLst>
          </p:nvPr>
        </p:nvGraphicFramePr>
        <p:xfrm>
          <a:off x="4989018" y="12077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30425" y="1819469"/>
            <a:ext cx="396791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louhodobě v čase signifikantně klesá </a:t>
            </a: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zátěž nejvíce zatížených okresů. Žádný z okresů</a:t>
            </a:r>
            <a:r>
              <a:rPr kumimoji="0" lang="cs-CZ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již nepřekračuje hodnotu týdenních kumulativních záchytů </a:t>
            </a:r>
            <a:r>
              <a:rPr lang="cs-CZ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kumimoji="0" lang="cs-CZ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100tis. </a:t>
            </a:r>
            <a:r>
              <a:rPr kumimoji="0" lang="cs-CZ" b="1" i="0" u="none" strike="noStrike" kern="1200" cap="none" spc="0" normalizeH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byv</a:t>
            </a:r>
            <a:r>
              <a:rPr lang="cs-CZ" b="1" dirty="0" err="1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l</a:t>
            </a:r>
            <a:r>
              <a:rPr lang="cs-CZ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cs-CZ" b="1" dirty="0" smtClean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ktuálně 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jvětší počet potvrzených záchytů nákazy na 100tis. obyv. registrují okresy Č. Krumlov, Klatovy,</a:t>
            </a:r>
            <a:r>
              <a:rPr lang="cs-CZ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Č. Budějovice a </a:t>
            </a:r>
            <a:r>
              <a:rPr lang="cs-CZ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hatice -  v těchto okresech ale záchyty postupně klesají. Jediným okresem, kde nyní zátěž v čase narůstá z </a:t>
            </a:r>
            <a:r>
              <a:rPr lang="cs-CZ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ýdenních počtů záchytů &gt; 25/100tis. obyv., </a:t>
            </a:r>
            <a:r>
              <a:rPr lang="cs-CZ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u Domažlice.</a:t>
            </a:r>
            <a:endParaRPr kumimoji="0" lang="cs-CZ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D50BEE-CD8A-46F6-9446-C78BF9B455E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28599" y="835127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0547418-27A7-4D23-8E57-B7B3125E825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297335" y="771238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13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479794A-4E8A-458B-B3E9-3CD0D29F6ED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60500" y="828984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06C6D7-C89C-40EC-8F95-B2DD802E134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92057" y="765095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5.20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52DA59-F3A1-4E04-8FDA-DE2C0404384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16261" y="82245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2FA2335-64D1-4E61-A09B-E82386934E7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666868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29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FF3B4FD-0AB4-40E2-85E9-CE4E09FA3F2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639428" y="822456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3CAD837-364B-4D07-BB24-0D00CC3A223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90035" y="75856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6.2021</a:t>
            </a:r>
          </a:p>
        </p:txBody>
      </p:sp>
    </p:spTree>
    <p:extLst>
      <p:ext uri="{BB962C8B-B14F-4D97-AF65-F5344CB8AC3E}">
        <p14:creationId xmlns:p14="http://schemas.microsoft.com/office/powerpoint/2010/main" val="32915722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Nové případy za 7 dní na 100 000 obyvatel: 20 okresů s nejvyššími hodnotami k </a:t>
            </a:r>
            <a:r>
              <a:rPr lang="cs-CZ" sz="2000" dirty="0"/>
              <a:t>12</a:t>
            </a:r>
            <a:r>
              <a:rPr lang="pl-PL" sz="2000" dirty="0"/>
              <a:t>.6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599619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4943" y="945486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sp>
        <p:nvSpPr>
          <p:cNvPr id="9" name="TextovéPole 6">
            <a:extLst>
              <a:ext uri="{FF2B5EF4-FFF2-40B4-BE49-F238E27FC236}">
                <a16:creationId xmlns:a16="http://schemas.microsoft.com/office/drawing/2014/main" id="{9B45D4F8-61EE-403A-869D-55184481FC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171669" y="925059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27F0E65-C6B8-4A75-8D1B-D96D31B1B03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28321691"/>
              </p:ext>
            </p:extLst>
          </p:nvPr>
        </p:nvGraphicFramePr>
        <p:xfrm>
          <a:off x="5316142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6ACD2A0-0BE8-480D-A338-915B7AAB8F8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64204753"/>
              </p:ext>
            </p:extLst>
          </p:nvPr>
        </p:nvGraphicFramePr>
        <p:xfrm>
          <a:off x="8643509" y="1301175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FA5B2374-6BF8-4269-978D-62AC84EEE7B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43509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(%)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2745483" y="4923409"/>
            <a:ext cx="297777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 smtClean="0"/>
              <a:t>Zvýrazněny jsou okresy, </a:t>
            </a:r>
          </a:p>
          <a:p>
            <a:r>
              <a:rPr lang="cs-CZ" sz="1600" b="1" dirty="0" smtClean="0"/>
              <a:t>u kterých je hodnota R &gt; 0,95 spojena s relativně vysokým počtem nově potvrzených záchytů nemoci. </a:t>
            </a:r>
            <a:endParaRPr lang="cs-CZ" sz="1600" b="1" dirty="0"/>
          </a:p>
        </p:txBody>
      </p:sp>
    </p:spTree>
    <p:extLst>
      <p:ext uri="{BB962C8B-B14F-4D97-AF65-F5344CB8AC3E}">
        <p14:creationId xmlns:p14="http://schemas.microsoft.com/office/powerpoint/2010/main" val="33110670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20 okresů s nejvyššími hodnotami R k </a:t>
            </a:r>
            <a:r>
              <a:rPr lang="cs-CZ" sz="2000" dirty="0"/>
              <a:t>12</a:t>
            </a:r>
            <a:r>
              <a:rPr lang="pl-PL" sz="2000" dirty="0"/>
              <a:t>.6. a jejich celková populační zátěž 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268612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ovéPole 6">
            <a:extLst>
              <a:ext uri="{FF2B5EF4-FFF2-40B4-BE49-F238E27FC236}">
                <a16:creationId xmlns:a16="http://schemas.microsoft.com/office/drawing/2014/main" id="{918DA6A8-9969-4BED-914D-C398515294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51619" y="945486"/>
            <a:ext cx="3435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 (20 okresů s nejvyššími hodnotami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68FC797-0E96-4C3E-B963-3453AA9DA65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79468431"/>
              </p:ext>
            </p:extLst>
          </p:nvPr>
        </p:nvGraphicFramePr>
        <p:xfrm>
          <a:off x="5360390" y="1256931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6">
            <a:extLst>
              <a:ext uri="{FF2B5EF4-FFF2-40B4-BE49-F238E27FC236}">
                <a16:creationId xmlns:a16="http://schemas.microsoft.com/office/drawing/2014/main" id="{EC921A74-54AF-4962-AD3E-D7ADB3CF99F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360390" y="938290"/>
            <a:ext cx="3241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řípadů za 7 dní/100 tis. obyv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BE1024E-8C1A-45B3-BC41-BA091ED1B9D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619786656"/>
              </p:ext>
            </p:extLst>
          </p:nvPr>
        </p:nvGraphicFramePr>
        <p:xfrm>
          <a:off x="8832230" y="1298633"/>
          <a:ext cx="3146613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ovéPole 6">
            <a:extLst>
              <a:ext uri="{FF2B5EF4-FFF2-40B4-BE49-F238E27FC236}">
                <a16:creationId xmlns:a16="http://schemas.microsoft.com/office/drawing/2014/main" id="{6049A26A-3141-437F-BFC4-FCA8B37473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87757" y="817715"/>
            <a:ext cx="343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diagnostickýc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ologick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(%)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2382617" y="4893912"/>
            <a:ext cx="297777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 smtClean="0"/>
              <a:t>Zvýrazněny jsou okresy, </a:t>
            </a:r>
          </a:p>
          <a:p>
            <a:r>
              <a:rPr lang="cs-CZ" sz="1600" b="1" dirty="0" smtClean="0"/>
              <a:t>u kterých je hodnota R &gt; 0,95 spojena s relativně vysokým počtem nově potvrzených záchytů nemoci. </a:t>
            </a:r>
            <a:endParaRPr lang="cs-CZ" sz="1600" b="1" dirty="0"/>
          </a:p>
        </p:txBody>
      </p:sp>
    </p:spTree>
    <p:extLst>
      <p:ext uri="{BB962C8B-B14F-4D97-AF65-F5344CB8AC3E}">
        <p14:creationId xmlns:p14="http://schemas.microsoft.com/office/powerpoint/2010/main" val="1736931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-118815" y="1715280"/>
            <a:ext cx="1191038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 smtClean="0">
                <a:solidFill>
                  <a:srgbClr val="0000FF"/>
                </a:solidFill>
                <a:latin typeface="Calibri" panose="020F0502020204030204"/>
              </a:rPr>
              <a:t>Relativně vysoký počet </a:t>
            </a:r>
            <a:r>
              <a:rPr lang="cs-CZ" sz="2800" b="1" u="sng" dirty="0" smtClean="0">
                <a:solidFill>
                  <a:srgbClr val="0000FF"/>
                </a:solidFill>
                <a:latin typeface="Calibri" panose="020F0502020204030204"/>
              </a:rPr>
              <a:t>nově </a:t>
            </a:r>
            <a:r>
              <a:rPr lang="cs-CZ" sz="2800" b="1" u="sng" dirty="0">
                <a:solidFill>
                  <a:srgbClr val="0000FF"/>
                </a:solidFill>
                <a:latin typeface="Calibri" panose="020F0502020204030204"/>
              </a:rPr>
              <a:t>potvrzených případů za 7 dní na 100 tis. obyv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u="sng" dirty="0">
                <a:solidFill>
                  <a:srgbClr val="0000FF"/>
                </a:solidFill>
                <a:latin typeface="Calibri" panose="020F0502020204030204"/>
              </a:rPr>
              <a:t>a zároveň </a:t>
            </a:r>
            <a:r>
              <a:rPr lang="cs-CZ" sz="2800" b="1" u="sng" dirty="0" smtClean="0">
                <a:solidFill>
                  <a:srgbClr val="0000FF"/>
                </a:solidFill>
                <a:latin typeface="Calibri" panose="020F0502020204030204"/>
              </a:rPr>
              <a:t>hodnotu R </a:t>
            </a:r>
            <a:r>
              <a:rPr lang="cs-CZ" sz="2800" b="1" u="sng" dirty="0">
                <a:solidFill>
                  <a:srgbClr val="0000FF"/>
                </a:solidFill>
                <a:latin typeface="Calibri" panose="020F0502020204030204"/>
              </a:rPr>
              <a:t>&gt; </a:t>
            </a:r>
            <a:r>
              <a:rPr lang="cs-CZ" sz="2800" b="1" u="sng" dirty="0" smtClean="0">
                <a:solidFill>
                  <a:srgbClr val="0000FF"/>
                </a:solidFill>
                <a:latin typeface="Calibri" panose="020F0502020204030204"/>
              </a:rPr>
              <a:t>0,95</a:t>
            </a:r>
            <a:r>
              <a:rPr lang="cs-CZ" sz="2800" b="1" dirty="0" smtClean="0">
                <a:solidFill>
                  <a:srgbClr val="0000FF"/>
                </a:solidFill>
                <a:latin typeface="Calibri" panose="020F0502020204030204"/>
              </a:rPr>
              <a:t> vykazují okresy: </a:t>
            </a:r>
            <a:endParaRPr lang="cs-CZ" sz="2800" b="1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60523" y="1396024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33095" y="70709"/>
            <a:ext cx="11249025" cy="13809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ituace v ČR </a:t>
            </a:r>
            <a:r>
              <a:rPr lang="cs-CZ" sz="3000" b="1" dirty="0" smtClean="0">
                <a:solidFill>
                  <a:prstClr val="black"/>
                </a:solidFill>
                <a:latin typeface="Calibri" panose="020F0502020204030204"/>
              </a:rPr>
              <a:t>je stabilní, populační indikátory stavu epidemie nikde dlouhodobě nerostou.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řesto stále existují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kresy a ORP,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kde je situace 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otenciálně riziková. </a:t>
            </a:r>
            <a:endParaRPr kumimoji="0" lang="cs-CZ" sz="3000" b="1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060521" y="532689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132253"/>
              </p:ext>
            </p:extLst>
          </p:nvPr>
        </p:nvGraphicFramePr>
        <p:xfrm>
          <a:off x="4061011" y="2905889"/>
          <a:ext cx="3451413" cy="2251710"/>
        </p:xfrm>
        <a:graphic>
          <a:graphicData uri="http://schemas.openxmlformats.org/drawingml/2006/table">
            <a:tbl>
              <a:tblPr/>
              <a:tblGrid>
                <a:gridCol w="3451413">
                  <a:extLst>
                    <a:ext uri="{9D8B030D-6E8A-4147-A177-3AD203B41FA5}">
                      <a16:colId xmlns:a16="http://schemas.microsoft.com/office/drawing/2014/main" val="1692043058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5424806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584754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97387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691967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690037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ěčí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29056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>
            <p:custDataLst>
              <p:tags r:id="rId3"/>
            </p:custDataLst>
          </p:nvPr>
        </p:nvSpPr>
        <p:spPr>
          <a:xfrm>
            <a:off x="159355" y="5713224"/>
            <a:ext cx="115952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 smtClean="0">
                <a:solidFill>
                  <a:srgbClr val="0000FF"/>
                </a:solidFill>
                <a:latin typeface="Calibri" panose="020F0502020204030204"/>
              </a:rPr>
              <a:t>Zátěž v okresech, kde je registrována nejvyšší zátěž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 smtClean="0">
                <a:solidFill>
                  <a:srgbClr val="0000FF"/>
                </a:solidFill>
                <a:latin typeface="Calibri" panose="020F0502020204030204"/>
              </a:rPr>
              <a:t>(Č. Krumlov, Klatovy, Č. Budějovice) klesá a jejich hodnota R je menší než 1.</a:t>
            </a:r>
            <a:endParaRPr lang="cs-CZ" sz="2800" b="1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8255712" y="2804607"/>
            <a:ext cx="385271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Řada okresů se již dostává do velmi malých počtů denních záchytů a hodnota reprodukčního čísla tak značně kolísá. </a:t>
            </a:r>
          </a:p>
          <a:p>
            <a:r>
              <a:rPr lang="cs-CZ" dirty="0" smtClean="0"/>
              <a:t>Z tohoto důvodu </a:t>
            </a:r>
            <a:r>
              <a:rPr lang="cs-CZ" b="1" dirty="0" smtClean="0"/>
              <a:t>je třeba označení rizika na okresní úrovni nebo na úrovni ORP vnímat spíše jako časné varování a proměnlivou situaci sledovat. </a:t>
            </a:r>
            <a:endParaRPr lang="cs-CZ" b="1" dirty="0"/>
          </a:p>
        </p:txBody>
      </p:sp>
      <p:sp>
        <p:nvSpPr>
          <p:cNvPr id="4" name="Šipka doprava 3"/>
          <p:cNvSpPr/>
          <p:nvPr/>
        </p:nvSpPr>
        <p:spPr>
          <a:xfrm>
            <a:off x="7718221" y="3480476"/>
            <a:ext cx="331694" cy="10757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Šipka doprava 9"/>
          <p:cNvSpPr/>
          <p:nvPr/>
        </p:nvSpPr>
        <p:spPr>
          <a:xfrm>
            <a:off x="3553016" y="3526210"/>
            <a:ext cx="331694" cy="10757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TextovéPole 10"/>
          <p:cNvSpPr txBox="1"/>
          <p:nvPr/>
        </p:nvSpPr>
        <p:spPr>
          <a:xfrm>
            <a:off x="233095" y="3097159"/>
            <a:ext cx="297777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Situace na okresní úrovni je značně proměnlivá a okresy </a:t>
            </a:r>
          </a:p>
          <a:p>
            <a:r>
              <a:rPr lang="cs-CZ" dirty="0" smtClean="0"/>
              <a:t>s potenciálně rizikovým vývojem epidemie se často mění. </a:t>
            </a:r>
            <a:r>
              <a:rPr lang="cs-CZ" b="1" dirty="0" smtClean="0"/>
              <a:t>Dlouhodobě v žádném k okresů epidemie nekontrolovaně neroste.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29957638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D004691-EEC6-4639-9302-C8F8AA47C4D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25" y="780858"/>
            <a:ext cx="7206873" cy="4754880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ciálně rizikovými epidemickými </a:t>
            </a:r>
            <a:r>
              <a:rPr lang="pl-PL" sz="2000" dirty="0" smtClean="0"/>
              <a:t>hodnotami </a:t>
            </a:r>
            <a:br>
              <a:rPr lang="pl-PL" sz="2000" dirty="0" smtClean="0"/>
            </a:br>
            <a:r>
              <a:rPr lang="pl-PL" sz="2000" dirty="0" smtClean="0"/>
              <a:t>(kalkulace s hranicí týdenního záchytu 2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9CE990-B476-48D3-9B51-BD51368C6C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424877-C36B-476A-80A2-75A84432AC9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C83000-BE90-410D-BCEB-3BEC6AE055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B73E81-14CA-4808-AA44-F71F2F14BC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dirty="0"/>
              <a:t>7denní počty nových případů &gt; 25/100tis. obyv. a s R &lt; 0,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557CE4-9D86-46E6-B551-9FD22B69FA0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7denní počty nových případů v intervalu 12,5 – 25/100tis. obyv. a s R ≥0,95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20F612-C5CB-4791-BE1D-DD2B112E2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 počty nových případů &gt; 25/100tis. obyv. a zároveň s R ≥0,95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80759187"/>
              </p:ext>
            </p:extLst>
          </p:nvPr>
        </p:nvGraphicFramePr>
        <p:xfrm>
          <a:off x="9353550" y="2254290"/>
          <a:ext cx="2367915" cy="3293745"/>
        </p:xfrm>
        <a:graphic>
          <a:graphicData uri="http://schemas.openxmlformats.org/drawingml/2006/table">
            <a:tbl>
              <a:tblPr/>
              <a:tblGrid>
                <a:gridCol w="2367915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dn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ěč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řebíč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2142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</a:tbl>
          </a:graphicData>
        </a:graphic>
      </p:graphicFrame>
      <p:sp>
        <p:nvSpPr>
          <p:cNvPr id="3" name="TextovéPole 2"/>
          <p:cNvSpPr txBox="1"/>
          <p:nvPr>
            <p:custDataLst>
              <p:tags r:id="rId10"/>
            </p:custDataLst>
          </p:nvPr>
        </p:nvSpPr>
        <p:spPr>
          <a:xfrm>
            <a:off x="5547949" y="869295"/>
            <a:ext cx="41737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200" b="1" dirty="0">
                <a:solidFill>
                  <a:srgbClr val="000000"/>
                </a:solidFill>
              </a:rPr>
              <a:t>Potenciálně rizikový vývoj je </a:t>
            </a:r>
            <a:r>
              <a:rPr lang="cs-CZ" sz="1200" b="1" dirty="0" smtClean="0">
                <a:solidFill>
                  <a:srgbClr val="000000"/>
                </a:solidFill>
              </a:rPr>
              <a:t>nyní pozorován </a:t>
            </a:r>
            <a:r>
              <a:rPr lang="cs-CZ" sz="1200" b="1" dirty="0">
                <a:solidFill>
                  <a:srgbClr val="000000"/>
                </a:solidFill>
              </a:rPr>
              <a:t>v okresech Domažlice a Liberec</a:t>
            </a:r>
            <a:r>
              <a:rPr lang="cs-CZ" sz="1200" b="1" dirty="0" smtClean="0">
                <a:solidFill>
                  <a:srgbClr val="000000"/>
                </a:solidFill>
              </a:rPr>
              <a:t>. Tyto </a:t>
            </a:r>
            <a:r>
              <a:rPr kumimoji="0" lang="cs-CZ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y (červeně) vykazují vysoký standardizovaný záchyt počtu nemocných a přitom potenciálně růstovou dynamiku šíření (R blízké 1 nebo nad 1)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KRESY</a:t>
            </a:r>
          </a:p>
        </p:txBody>
      </p:sp>
    </p:spTree>
    <p:extLst>
      <p:ext uri="{BB962C8B-B14F-4D97-AF65-F5344CB8AC3E}">
        <p14:creationId xmlns:p14="http://schemas.microsoft.com/office/powerpoint/2010/main" val="37530937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30CC9E17-8F4E-47BB-8D4C-A0CB7B1C952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25" y="858374"/>
            <a:ext cx="7282959" cy="4805079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RP s potenciálně rizikovými epidemickými hodnotami</a:t>
            </a:r>
            <a:br>
              <a:rPr lang="pl-PL" sz="2000" dirty="0"/>
            </a:br>
            <a:r>
              <a:rPr lang="pl-PL" sz="2000" dirty="0"/>
              <a:t>(kalkulace s hranicí týdenního záchytu 2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47D1FE-666E-4918-84B0-8DF0834283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887356-6FF3-46F8-91DC-C5A4EAEF2DA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95E618F-230C-480A-AFD6-92B23C806F3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06B787-E621-45F3-8AD2-4A0E9A111C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dirty="0"/>
              <a:t>7denními počty nových případů &gt; 25/100tis. obyv. a s R &lt; 0,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E28D02-B0EC-47DD-A50F-BF0460A5DA2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7denními počty nových případů v intervalu 12,5 – 25/100tis. obyv. a s R ≥0,95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B1A4AC8-EF49-4B39-ADF0-D3040A07093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mi počty nových případů &gt; 25/100tis. obyv. a zároveň s R ≥0,95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D7F67D5-8C47-41BA-B2FF-3C4ADE14FA8C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6205250"/>
              </p:ext>
            </p:extLst>
          </p:nvPr>
        </p:nvGraphicFramePr>
        <p:xfrm>
          <a:off x="9270113" y="974156"/>
          <a:ext cx="2303577" cy="3293745"/>
        </p:xfrm>
        <a:graphic>
          <a:graphicData uri="http://schemas.openxmlformats.org/drawingml/2006/table">
            <a:tbl>
              <a:tblPr/>
              <a:tblGrid>
                <a:gridCol w="2303577">
                  <a:extLst>
                    <a:ext uri="{9D8B030D-6E8A-4147-A177-3AD203B41FA5}">
                      <a16:colId xmlns:a16="http://schemas.microsoft.com/office/drawing/2014/main" val="77654287"/>
                    </a:ext>
                  </a:extLst>
                </a:gridCol>
              </a:tblGrid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ý Br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9583239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bříš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002633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děbrad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116058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647376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š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515927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umbu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605302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arnsdorf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80924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558498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urn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919371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72710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087354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iz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698060"/>
                  </a:ext>
                </a:extLst>
              </a:tr>
              <a:tr h="2333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rlová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17129"/>
                  </a:ext>
                </a:extLst>
              </a:tr>
            </a:tbl>
          </a:graphicData>
        </a:graphic>
      </p:graphicFrame>
      <p:sp>
        <p:nvSpPr>
          <p:cNvPr id="11" name="TextovéPole 10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RP</a:t>
            </a:r>
          </a:p>
        </p:txBody>
      </p:sp>
    </p:spTree>
    <p:extLst>
      <p:ext uri="{BB962C8B-B14F-4D97-AF65-F5344CB8AC3E}">
        <p14:creationId xmlns:p14="http://schemas.microsoft.com/office/powerpoint/2010/main" val="16447868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Map&#10;&#10;Description automatically generated">
            <a:extLst>
              <a:ext uri="{FF2B5EF4-FFF2-40B4-BE49-F238E27FC236}">
                <a16:creationId xmlns:a16="http://schemas.microsoft.com/office/drawing/2014/main" id="{88DAF986-3411-442A-8A97-7414AB64395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25" y="858374"/>
            <a:ext cx="7282959" cy="4805079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RP s potenciálně rizikovými epidemickými hodnotami</a:t>
            </a:r>
            <a:br>
              <a:rPr lang="pl-PL" sz="2000" dirty="0"/>
            </a:br>
            <a:r>
              <a:rPr lang="pl-PL" sz="2000" dirty="0"/>
              <a:t>(kalkulace s hranicí týdenního záchytu 2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47D1FE-666E-4918-84B0-8DF0834283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1925" y="572648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887356-6FF3-46F8-91DC-C5A4EAEF2DA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1925" y="609863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95E618F-230C-480A-AFD6-92B23C806F3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1925" y="649877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06B787-E621-45F3-8AD2-4A0E9A111C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650" y="563181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dirty="0"/>
              <a:t>7denními počty nových případů &gt; 25/100tis. obyv. a s R &lt; 0,95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E28D02-B0EC-47DD-A50F-BF0460A5DA2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650" y="603079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7denními počty nových případů v intervalu 12,5 – 25/100tis. obyv. a s R ≥0,95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B1A4AC8-EF49-4B39-ADF0-D3040A07093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650" y="640012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mi počty nových případů &gt; 25/100tis. obyv. a zároveň s R ≥0,95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D7F67D5-8C47-41BA-B2FF-3C4ADE14FA8C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8232542" y="835285"/>
          <a:ext cx="1769798" cy="3973740"/>
        </p:xfrm>
        <a:graphic>
          <a:graphicData uri="http://schemas.openxmlformats.org/drawingml/2006/table">
            <a:tbl>
              <a:tblPr/>
              <a:tblGrid>
                <a:gridCol w="1769798">
                  <a:extLst>
                    <a:ext uri="{9D8B030D-6E8A-4147-A177-3AD203B41FA5}">
                      <a16:colId xmlns:a16="http://schemas.microsoft.com/office/drawing/2014/main" val="77654287"/>
                    </a:ext>
                  </a:extLst>
                </a:gridCol>
              </a:tblGrid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eneš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002633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dn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11605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ysá nad Labe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64737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51592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Říč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605302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t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8092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ýř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55849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919371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ras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7271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daň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08735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vůr Králové nad Labe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69806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vitav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17129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řebíč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8362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vanč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43681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yj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90015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iku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520363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Šlapan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607229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er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91625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rviná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40274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opřivn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57901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54B21E8-7BF8-4CA2-ABF1-008D5FF3AE49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47005530"/>
              </p:ext>
            </p:extLst>
          </p:nvPr>
        </p:nvGraphicFramePr>
        <p:xfrm>
          <a:off x="10193183" y="835285"/>
          <a:ext cx="1769798" cy="2582931"/>
        </p:xfrm>
        <a:graphic>
          <a:graphicData uri="http://schemas.openxmlformats.org/drawingml/2006/table">
            <a:tbl>
              <a:tblPr/>
              <a:tblGrid>
                <a:gridCol w="1769798">
                  <a:extLst>
                    <a:ext uri="{9D8B030D-6E8A-4147-A177-3AD203B41FA5}">
                      <a16:colId xmlns:a16="http://schemas.microsoft.com/office/drawing/2014/main" val="77654287"/>
                    </a:ext>
                  </a:extLst>
                </a:gridCol>
              </a:tblGrid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002633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11605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p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64737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51592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řeboň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605302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š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8092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nval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55849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insk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919371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dloch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7271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bře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08735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žnov pod Radhoště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698060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ašské Klobouk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17129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hum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83626"/>
                  </a:ext>
                </a:extLst>
              </a:tr>
            </a:tbl>
          </a:graphicData>
        </a:graphic>
      </p:graphicFrame>
      <p:sp>
        <p:nvSpPr>
          <p:cNvPr id="14" name="TextovéPole 13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RP</a:t>
            </a:r>
          </a:p>
        </p:txBody>
      </p:sp>
    </p:spTree>
    <p:extLst>
      <p:ext uri="{BB962C8B-B14F-4D97-AF65-F5344CB8AC3E}">
        <p14:creationId xmlns:p14="http://schemas.microsoft.com/office/powerpoint/2010/main" val="22205117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33095" y="2570685"/>
            <a:ext cx="1159604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</a:rPr>
              <a:t>Následující tři mapové výstupy jsou již provedeny pro nové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</a:rPr>
              <a:t> </a:t>
            </a:r>
            <a:r>
              <a:rPr kumimoji="0" lang="cs-CZ" sz="2800" b="1" i="0" u="none" strike="noStrike" kern="1200" cap="none" spc="0" normalizeH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</a:rPr>
              <a:t>škálování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</a:rPr>
              <a:t> založené na hranici počtu týdně nově potvrzených případů 12,5/100tis. obyv. </a:t>
            </a:r>
          </a:p>
          <a:p>
            <a:pPr lvl="0" algn="ctr">
              <a:defRPr/>
            </a:pPr>
            <a:endParaRPr lang="cs-CZ" sz="2800" b="1" dirty="0">
              <a:solidFill>
                <a:srgbClr val="0000FF"/>
              </a:solidFill>
            </a:endParaRPr>
          </a:p>
          <a:p>
            <a:pPr lvl="0" algn="ctr">
              <a:defRPr/>
            </a:pP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</a:rPr>
              <a:t>–&gt; nad touto hranicí a zároveň s hodnotou reprodukčního čísla </a:t>
            </a:r>
            <a:r>
              <a:rPr lang="cs-CZ" sz="2800" b="1" dirty="0" smtClean="0">
                <a:solidFill>
                  <a:srgbClr val="0000FF"/>
                </a:solidFill>
              </a:rPr>
              <a:t>≥ 0,96 </a:t>
            </a:r>
          </a:p>
          <a:p>
            <a:pPr lvl="0" algn="ctr">
              <a:defRPr/>
            </a:pPr>
            <a:r>
              <a:rPr lang="cs-CZ" sz="2800" b="1" dirty="0" smtClean="0">
                <a:solidFill>
                  <a:srgbClr val="0000FF"/>
                </a:solidFill>
              </a:rPr>
              <a:t>je registrováno 8 okresů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12381" y="1901749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363724" y="157795"/>
            <a:ext cx="11249025" cy="13809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uace v ČR je stabilní, populační indikátory stavu epidemie nikde dlouhodobě nerostou. Přesto stále existují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kresy a ORP, kde je situace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ciálně riziková. 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Šipka dolů 12"/>
          <p:cNvSpPr/>
          <p:nvPr/>
        </p:nvSpPr>
        <p:spPr>
          <a:xfrm>
            <a:off x="5212380" y="524729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08700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ap&#10;&#10;Description automatically generated">
            <a:extLst>
              <a:ext uri="{FF2B5EF4-FFF2-40B4-BE49-F238E27FC236}">
                <a16:creationId xmlns:a16="http://schemas.microsoft.com/office/drawing/2014/main" id="{47AAB596-9A76-4C66-ADA5-80E5F474A8F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26" y="710682"/>
            <a:ext cx="7447280" cy="4913493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kresů s potenciálně rizikovými epidemickými hodnotami</a:t>
            </a:r>
            <a:r>
              <a:rPr lang="en-US" sz="2000" dirty="0"/>
              <a:t> </a:t>
            </a:r>
            <a:r>
              <a:rPr lang="en-US" sz="2000" dirty="0" smtClean="0"/>
              <a:t>II</a:t>
            </a:r>
            <a:r>
              <a:rPr lang="cs-CZ" sz="2000" dirty="0" smtClean="0"/>
              <a:t/>
            </a:r>
            <a:br>
              <a:rPr lang="cs-CZ" sz="2000" dirty="0" smtClean="0"/>
            </a:br>
            <a:r>
              <a:rPr lang="pl-PL" sz="2000" dirty="0"/>
              <a:t>(kalkulace s hranicí týdenního záchytu </a:t>
            </a:r>
            <a:r>
              <a:rPr lang="pl-PL" sz="2000" dirty="0" smtClean="0"/>
              <a:t>12,5 </a:t>
            </a:r>
            <a:r>
              <a:rPr lang="pl-PL" sz="2000" dirty="0"/>
              <a:t>případů / 100tis. obyv.)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43C3E8-C5A1-4534-9DCC-3A966C17E21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36554296"/>
              </p:ext>
            </p:extLst>
          </p:nvPr>
        </p:nvGraphicFramePr>
        <p:xfrm>
          <a:off x="8655696" y="840030"/>
          <a:ext cx="1575707" cy="5492115"/>
        </p:xfrm>
        <a:graphic>
          <a:graphicData uri="http://schemas.openxmlformats.org/drawingml/2006/table">
            <a:tbl>
              <a:tblPr/>
              <a:tblGrid>
                <a:gridCol w="1575707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eneš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602827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937619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kovní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81902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27683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oko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800842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rutn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7573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elhřim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209254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44811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-vých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765409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ha-zá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919642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09603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stí nad Labe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952731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á Líp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6122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258216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644065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hrudi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749020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ihla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324032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8171516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rno-venk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539089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řecla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518218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213845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421424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73267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rviná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7698437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220501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314162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036975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517415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2282256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55596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7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879456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KRESY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0B3310DB-6440-4D99-B7E9-30433A28191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1925" y="571884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1">
            <a:extLst>
              <a:ext uri="{FF2B5EF4-FFF2-40B4-BE49-F238E27FC236}">
                <a16:creationId xmlns:a16="http://schemas.microsoft.com/office/drawing/2014/main" id="{F43A6F6A-7757-416F-A3D5-7EF7F127975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1925" y="609099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4B3D4470-8DBA-4565-BDE2-E1411E8D36B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51925" y="649113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D650C9B1-A3B1-4437-86D7-17CBE660EB6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17650" y="5624175"/>
            <a:ext cx="9249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noProof="0" dirty="0"/>
              <a:t>R &gt; 1,2 při </a:t>
            </a:r>
            <a:r>
              <a:rPr lang="cs-CZ" dirty="0"/>
              <a:t>7denních počtech nových případů &lt; 12,5/100tis. obyv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4">
            <a:extLst>
              <a:ext uri="{FF2B5EF4-FFF2-40B4-BE49-F238E27FC236}">
                <a16:creationId xmlns:a16="http://schemas.microsoft.com/office/drawing/2014/main" id="{8F5E6BC0-C78E-4C71-984A-37857A89274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17650" y="602315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7denní počty nových případů &gt; 12,5/100tis. obyv. a zároveň s R </a:t>
            </a:r>
            <a:r>
              <a:rPr lang="cs-CZ" b="1" dirty="0" smtClean="0"/>
              <a:t>&lt; 0,95 </a:t>
            </a:r>
            <a:endParaRPr lang="cs-CZ" b="1" dirty="0"/>
          </a:p>
        </p:txBody>
      </p:sp>
      <p:sp>
        <p:nvSpPr>
          <p:cNvPr id="21" name="TextBox 15">
            <a:extLst>
              <a:ext uri="{FF2B5EF4-FFF2-40B4-BE49-F238E27FC236}">
                <a16:creationId xmlns:a16="http://schemas.microsoft.com/office/drawing/2014/main" id="{5C282CF5-5E78-490D-B515-2E1E34EA373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17650" y="639248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 počty nových případů &gt; 12,5/100tis. obyv. a zároveň s R </a:t>
            </a:r>
            <a:r>
              <a:rPr lang="cs-CZ" b="1" dirty="0" smtClean="0">
                <a:solidFill>
                  <a:srgbClr val="FF0000"/>
                </a:solidFill>
                <a:latin typeface="Arial" panose="020B0604020202020204"/>
              </a:rPr>
              <a:t>≥ 0,95</a:t>
            </a:r>
            <a:endParaRPr lang="cs-CZ" b="1" dirty="0">
              <a:solidFill>
                <a:srgbClr val="FF0000"/>
              </a:solidFill>
              <a:latin typeface="Arial" panose="020B0604020202020204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F90BB6E4-B0D6-47FF-84D6-E27F5DD22F24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43265646"/>
              </p:ext>
            </p:extLst>
          </p:nvPr>
        </p:nvGraphicFramePr>
        <p:xfrm>
          <a:off x="10404552" y="840030"/>
          <a:ext cx="1575707" cy="1417320"/>
        </p:xfrm>
        <a:graphic>
          <a:graphicData uri="http://schemas.openxmlformats.org/drawingml/2006/table">
            <a:tbl>
              <a:tblPr/>
              <a:tblGrid>
                <a:gridCol w="1575707">
                  <a:extLst>
                    <a:ext uri="{9D8B030D-6E8A-4147-A177-3AD203B41FA5}">
                      <a16:colId xmlns:a16="http://schemas.microsoft.com/office/drawing/2014/main" val="2025806962"/>
                    </a:ext>
                  </a:extLst>
                </a:gridCol>
              </a:tblGrid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ladn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7919451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3683077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6654355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ěčí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312640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4116267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řebíč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2038887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562675"/>
                  </a:ext>
                </a:extLst>
              </a:tr>
              <a:tr h="14513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5851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8289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stále</a:t>
            </a:r>
            <a:r>
              <a:rPr kumimoji="0" lang="cs-CZ" sz="20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kazuje na pokračující zpomalování epidemie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5404867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320851"/>
              </p:ext>
            </p:ext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5.–1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5.–2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5.–3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. 5.–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6.–13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Přímá spojnice se šipkou 15"/>
          <p:cNvCxnSpPr/>
          <p:nvPr>
            <p:custDataLst>
              <p:tags r:id="rId5"/>
            </p:custDataLst>
          </p:nvPr>
        </p:nvCxnSpPr>
        <p:spPr>
          <a:xfrm>
            <a:off x="5534160" y="5017074"/>
            <a:ext cx="5716543" cy="689848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25877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37A1EB60-D3AA-49BC-8917-7B990628257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25" y="851619"/>
            <a:ext cx="7257744" cy="4788443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 smtClean="0"/>
              <a:t>Přehled ORP s potenciálně rizikovými epidemickými hodnotami</a:t>
            </a:r>
            <a:r>
              <a:rPr lang="en-US" sz="2000" dirty="0" smtClean="0"/>
              <a:t> II</a:t>
            </a:r>
            <a:r>
              <a:rPr lang="cs-CZ" sz="2000" dirty="0" smtClean="0"/>
              <a:t/>
            </a:r>
            <a:br>
              <a:rPr lang="cs-CZ" sz="2000" dirty="0" smtClean="0"/>
            </a:br>
            <a:r>
              <a:rPr lang="pl-PL" sz="2000" dirty="0"/>
              <a:t>(kalkulace s hranicí týdenního záchytu 12,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RP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D91D0A08-BEB2-437C-9414-DC6C39A844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51925" y="571884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E62157A4-DDE6-4012-81C4-2A0C267BC12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1925" y="609099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A992A7BD-6D5B-4F0E-A8BD-0543F9CF95A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1925" y="649113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C03A7965-BBAF-434E-BEFB-27903A03CFF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17650" y="5624175"/>
            <a:ext cx="6980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noProof="0" dirty="0"/>
              <a:t>R &gt; 1,2 při </a:t>
            </a:r>
            <a:r>
              <a:rPr lang="cs-CZ" dirty="0"/>
              <a:t>7denních počtech nových případů &lt; 12,5/100tis. obyv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4">
            <a:extLst>
              <a:ext uri="{FF2B5EF4-FFF2-40B4-BE49-F238E27FC236}">
                <a16:creationId xmlns:a16="http://schemas.microsoft.com/office/drawing/2014/main" id="{4E2F5F7D-D0BC-44BF-9D8B-9CC577DC3D1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17650" y="602315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7denní počty nových případů &gt; 12,5/100tis. obyv. a zároveň s R &lt;0,95 </a:t>
            </a:r>
          </a:p>
        </p:txBody>
      </p:sp>
      <p:sp>
        <p:nvSpPr>
          <p:cNvPr id="24" name="TextBox 15">
            <a:extLst>
              <a:ext uri="{FF2B5EF4-FFF2-40B4-BE49-F238E27FC236}">
                <a16:creationId xmlns:a16="http://schemas.microsoft.com/office/drawing/2014/main" id="{0F1D4B87-C3BD-47FD-892F-0982E806691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17650" y="639248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 počty nových případů &gt; 12,5/100tis. obyv. a zároveň s R ≥0,95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0D2DB62-5501-4010-9BF0-69CCDED4D627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73871674"/>
              </p:ext>
            </p:extLst>
          </p:nvPr>
        </p:nvGraphicFramePr>
        <p:xfrm>
          <a:off x="8696819" y="869295"/>
          <a:ext cx="1935343" cy="56490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35343">
                  <a:extLst>
                    <a:ext uri="{9D8B030D-6E8A-4147-A177-3AD203B41FA5}">
                      <a16:colId xmlns:a16="http://schemas.microsoft.com/office/drawing/2014/main" val="1458768259"/>
                    </a:ext>
                  </a:extLst>
                </a:gridCol>
              </a:tblGrid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enešov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146774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ladno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658245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ysá nad Labem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120824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říbram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400392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Říčany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124735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otice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067044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ýřany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963673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od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458678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raslice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730277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adaň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6884206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vůr Králové nad Labem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771248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vitavy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79483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řebíč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250430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ančice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5189542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yjov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466936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ikulov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414109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Šlapanice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994339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řerov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899006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arviná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877877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opřivnice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2402384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Český Brod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4893258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obříš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191817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oděbrady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368020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omažlice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6135909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š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808279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umburk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222584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arnsdorf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3439387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iberec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847154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urnov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8591361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avlíčkův Brod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14786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Šumperk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5496051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izovice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073280"/>
                  </a:ext>
                </a:extLst>
              </a:tr>
              <a:tr h="17118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Orlová</a:t>
                      </a:r>
                      <a:endParaRPr lang="cs-CZ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91" marR="5491" marT="549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8224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53651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37A1EB60-D3AA-49BC-8917-7B990628257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25" y="851619"/>
            <a:ext cx="7257744" cy="4788443"/>
          </a:xfrm>
          <a:prstGeom prst="rect">
            <a:avLst/>
          </a:prstGeom>
        </p:spPr>
      </p:pic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/>
              <a:t>Přehled ORP s potenciálně rizikovými epidemickými hodnotami</a:t>
            </a:r>
            <a:r>
              <a:rPr lang="en-US" sz="2000" dirty="0"/>
              <a:t> </a:t>
            </a:r>
            <a:r>
              <a:rPr lang="en-US" sz="2000" dirty="0" smtClean="0"/>
              <a:t>II</a:t>
            </a:r>
            <a:r>
              <a:rPr lang="cs-CZ" sz="2000" dirty="0" smtClean="0"/>
              <a:t/>
            </a:r>
            <a:br>
              <a:rPr lang="cs-CZ" sz="2000" dirty="0" smtClean="0"/>
            </a:br>
            <a:r>
              <a:rPr lang="pl-PL" sz="2000" dirty="0"/>
              <a:t>(kalkulace s hranicí týdenního záchytu 12,5 případů / 100tis. obyv.)</a:t>
            </a:r>
            <a:endParaRPr lang="cs-CZ" sz="2000" dirty="0">
              <a:latin typeface="+mn-lt"/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341925" y="869295"/>
            <a:ext cx="1796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RP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D91D0A08-BEB2-437C-9414-DC6C39A844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51925" y="5718841"/>
            <a:ext cx="180000" cy="180000"/>
          </a:xfrm>
          <a:prstGeom prst="rect">
            <a:avLst/>
          </a:prstGeom>
          <a:solidFill>
            <a:srgbClr val="D0CC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E62157A4-DDE6-4012-81C4-2A0C267BC12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51925" y="6090996"/>
            <a:ext cx="180000" cy="180000"/>
          </a:xfrm>
          <a:prstGeom prst="rect">
            <a:avLst/>
          </a:prstGeom>
          <a:solidFill>
            <a:srgbClr val="59535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A992A7BD-6D5B-4F0E-A8BD-0543F9CF95A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1925" y="649113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C03A7965-BBAF-434E-BEFB-27903A03CFF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17650" y="5624175"/>
            <a:ext cx="6980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noProof="0" dirty="0"/>
              <a:t>R &gt; 1,2 při </a:t>
            </a:r>
            <a:r>
              <a:rPr lang="cs-CZ" dirty="0"/>
              <a:t>7denních počtech nových případů &lt; 12,5/100tis. obyv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4">
            <a:extLst>
              <a:ext uri="{FF2B5EF4-FFF2-40B4-BE49-F238E27FC236}">
                <a16:creationId xmlns:a16="http://schemas.microsoft.com/office/drawing/2014/main" id="{4E2F5F7D-D0BC-44BF-9D8B-9CC577DC3D1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17650" y="6023152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7denní počty nových případů &gt; 12,5/100tis. obyv. a zároveň s R &lt;0,95 </a:t>
            </a:r>
          </a:p>
        </p:txBody>
      </p:sp>
      <p:sp>
        <p:nvSpPr>
          <p:cNvPr id="24" name="TextBox 15">
            <a:extLst>
              <a:ext uri="{FF2B5EF4-FFF2-40B4-BE49-F238E27FC236}">
                <a16:creationId xmlns:a16="http://schemas.microsoft.com/office/drawing/2014/main" id="{0F1D4B87-C3BD-47FD-892F-0982E806691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17650" y="6392484"/>
            <a:ext cx="892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srgbClr val="FF0000"/>
                </a:solidFill>
                <a:latin typeface="Arial" panose="020B0604020202020204"/>
              </a:rPr>
              <a:t>7denní počty nových případů &gt; 12,5/100tis. obyv. a zároveň s R ≥0,95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D3B2EC70-A6B3-4F03-86A7-FBE16293EDF2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751622230"/>
              </p:ext>
            </p:extLst>
          </p:nvPr>
        </p:nvGraphicFramePr>
        <p:xfrm>
          <a:off x="10262184" y="4285543"/>
          <a:ext cx="1796591" cy="1390809"/>
        </p:xfrm>
        <a:graphic>
          <a:graphicData uri="http://schemas.openxmlformats.org/drawingml/2006/table">
            <a:tbl>
              <a:tblPr/>
              <a:tblGrid>
                <a:gridCol w="1796591">
                  <a:extLst>
                    <a:ext uri="{9D8B030D-6E8A-4147-A177-3AD203B41FA5}">
                      <a16:colId xmlns:a16="http://schemas.microsoft.com/office/drawing/2014/main" val="77654287"/>
                    </a:ext>
                  </a:extLst>
                </a:gridCol>
              </a:tblGrid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002633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116058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kovník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647376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515927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dnice nad Labe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605302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ři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80924"/>
                  </a:ext>
                </a:extLst>
              </a:tr>
              <a:tr h="198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r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558498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5EA0357-D795-4FBD-B7CF-8144F1640D7A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8275283" y="1181648"/>
          <a:ext cx="1796591" cy="4571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96591">
                  <a:extLst>
                    <a:ext uri="{9D8B030D-6E8A-4147-A177-3AD203B41FA5}">
                      <a16:colId xmlns:a16="http://schemas.microsoft.com/office/drawing/2014/main" val="3723391018"/>
                    </a:ext>
                  </a:extLst>
                </a:gridCol>
              </a:tblGrid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ha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6771681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Černošice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0817373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Kutná Hora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874995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Sedlčany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180887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Slaný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576425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Týn nad Vltavou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152870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Plzeň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702771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>
                          <a:solidFill>
                            <a:schemeClr val="bg1"/>
                          </a:solidFill>
                          <a:effectLst/>
                        </a:rPr>
                        <a:t>Ústí nad Labem</a:t>
                      </a:r>
                      <a:endParaRPr lang="cs-CZ" sz="105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2791691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Česká Lípa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968208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Frýdlant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428075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Jablonec nad Nisou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472233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>
                          <a:solidFill>
                            <a:schemeClr val="bg1"/>
                          </a:solidFill>
                          <a:effectLst/>
                        </a:rPr>
                        <a:t>Semily</a:t>
                      </a:r>
                      <a:endParaRPr lang="cs-CZ" sz="105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3577125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>
                          <a:solidFill>
                            <a:schemeClr val="bg1"/>
                          </a:solidFill>
                          <a:effectLst/>
                        </a:rPr>
                        <a:t>Králíky</a:t>
                      </a:r>
                      <a:endParaRPr lang="cs-CZ" sz="105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3199450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Moravská Třebová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796017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>
                          <a:solidFill>
                            <a:schemeClr val="bg1"/>
                          </a:solidFill>
                          <a:effectLst/>
                        </a:rPr>
                        <a:t>Vysoké Mýto</a:t>
                      </a:r>
                      <a:endParaRPr lang="cs-CZ" sz="105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279507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Jihlava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884104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Pacov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283030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Žďár nad Sázavou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891165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>
                          <a:solidFill>
                            <a:schemeClr val="bg1"/>
                          </a:solidFill>
                          <a:effectLst/>
                        </a:rPr>
                        <a:t>Boskovice</a:t>
                      </a:r>
                      <a:endParaRPr lang="cs-CZ" sz="105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560807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Hustopeče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969797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Moravský Krumlov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06684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>
                          <a:solidFill>
                            <a:schemeClr val="bg1"/>
                          </a:solidFill>
                          <a:effectLst/>
                        </a:rPr>
                        <a:t>Vyškov</a:t>
                      </a:r>
                      <a:endParaRPr lang="cs-CZ" sz="105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897869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Mohelnice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5902424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Uničov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651969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Uherský Brod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7417073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Valašské Meziříčí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059430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Vsetín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424582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Zlín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082234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0EEDE3A-DB7C-4F38-B4FD-A652BC67DCCE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10262185" y="1181648"/>
          <a:ext cx="1796591" cy="31023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96591">
                  <a:extLst>
                    <a:ext uri="{9D8B030D-6E8A-4147-A177-3AD203B41FA5}">
                      <a16:colId xmlns:a16="http://schemas.microsoft.com/office/drawing/2014/main" val="3723391018"/>
                    </a:ext>
                  </a:extLst>
                </a:gridCol>
              </a:tblGrid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Frýdek-Místek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394937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Frýdlant nad Ostravicí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687298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Havířov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154422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Kravaře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5533969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Ostrava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982916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Vítkov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233852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České Budějovice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1877091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Český Krumlov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8951773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Kaplice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9061096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hatice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463155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Třeboň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201039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Sušice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875855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Tanvald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69483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Hlinsko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4476679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Židlochovice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132123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Zábřeh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250701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Rožnov pod Radhoštěm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5661256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Valašské Klobouky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5039083"/>
                  </a:ext>
                </a:extLst>
              </a:tr>
              <a:tr h="92582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Bohumín</a:t>
                      </a:r>
                      <a:endParaRPr lang="cs-CZ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61" marR="3261" marT="3261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6F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56993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91852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</a:t>
            </a:r>
          </a:p>
          <a:p>
            <a:r>
              <a:rPr lang="cs-CZ" sz="5000" b="1" dirty="0"/>
              <a:t>populačních modelů </a:t>
            </a:r>
          </a:p>
        </p:txBody>
      </p:sp>
    </p:spTree>
    <p:extLst>
      <p:ext uri="{BB962C8B-B14F-4D97-AF65-F5344CB8AC3E}">
        <p14:creationId xmlns:p14="http://schemas.microsoft.com/office/powerpoint/2010/main" val="28416413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31940" y="2784875"/>
            <a:ext cx="1178526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Reálná data a vývoj epidemie dosud potvrzují, že rozvolnění </a:t>
            </a:r>
          </a:p>
          <a:p>
            <a:pPr lvl="0" algn="ctr">
              <a:defRPr/>
            </a:pPr>
            <a:r>
              <a:rPr lang="cs-CZ" sz="3200" b="1" dirty="0">
                <a:solidFill>
                  <a:srgbClr val="0000FF"/>
                </a:solidFill>
              </a:rPr>
              <a:t>v dubnu a </a:t>
            </a:r>
            <a:r>
              <a:rPr lang="cs-CZ" sz="3200" b="1" dirty="0" smtClean="0">
                <a:solidFill>
                  <a:srgbClr val="0000FF"/>
                </a:solidFill>
              </a:rPr>
              <a:t>v květnu se </a:t>
            </a:r>
            <a:r>
              <a:rPr lang="cs-CZ" sz="3200" b="1" dirty="0">
                <a:solidFill>
                  <a:srgbClr val="0000FF"/>
                </a:solidFill>
              </a:rPr>
              <a:t>na vývoji epidemie neprojevilo, situace je stabilní. V důsledku postupující vakcinace lze očekávat, že 7denní počet nově potvrzených případů bude dále významně klesat. </a:t>
            </a:r>
            <a:endParaRPr lang="cs-CZ" sz="3200" b="1" dirty="0" smtClean="0">
              <a:solidFill>
                <a:srgbClr val="0000FF"/>
              </a:solidFill>
            </a:endParaRPr>
          </a:p>
          <a:p>
            <a:pPr lvl="0" algn="ctr">
              <a:defRPr/>
            </a:pPr>
            <a:endParaRPr lang="cs-CZ" sz="3200" b="1" dirty="0">
              <a:solidFill>
                <a:srgbClr val="0000FF"/>
              </a:solidFill>
            </a:endParaRPr>
          </a:p>
          <a:p>
            <a:pPr lvl="0" algn="ctr">
              <a:defRPr/>
            </a:pPr>
            <a:r>
              <a:rPr lang="cs-CZ" sz="3200" b="1" dirty="0" smtClean="0">
                <a:solidFill>
                  <a:srgbClr val="0000FF"/>
                </a:solidFill>
              </a:rPr>
              <a:t>Pokles </a:t>
            </a:r>
            <a:r>
              <a:rPr lang="cs-CZ" sz="3200" b="1" dirty="0" smtClean="0">
                <a:solidFill>
                  <a:srgbClr val="0000FF"/>
                </a:solidFill>
              </a:rPr>
              <a:t>se týká všech regionů. </a:t>
            </a:r>
            <a:endParaRPr lang="cs-CZ" sz="3200" b="1" dirty="0">
              <a:solidFill>
                <a:srgbClr val="0000FF"/>
              </a:solidFill>
            </a:endParaRP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téměř všech regionů stále setrvale klesá a rovněž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 další období lze očekávat pokles, který bude dále umocňová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ujícím 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48719" y="201082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348719" y="601642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1301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718907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1" y="56607"/>
            <a:ext cx="1127936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vývoj epidemie je velmi pozitivní, populační zátěž významně klesá a projevuje se již postupující vakcinace rizikových skupin obyvatel </a:t>
            </a:r>
            <a:endParaRPr kumimoji="0" lang="cs-CZ" sz="3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49" y="614586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sng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velmi optimistickému scénáři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terý předpokládal rychlé brždění epidemie odpovídající reprodukčnímu číslu cca 0,7 - 0,8, posílenému o rychlý efekt postupující vakcinace (imunita dosažená již po 1. dávce vakcíny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kern="0" dirty="0">
              <a:solidFill>
                <a:srgbClr val="3333CC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dokládají i reálná data proložená při validac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připravených modelů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5354593" y="4277802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4428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8238593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n-lt"/>
              </a:rPr>
              <a:t>Modelov</a:t>
            </a:r>
            <a:r>
              <a:rPr lang="cs-CZ" dirty="0">
                <a:latin typeface="+mn-lt"/>
              </a:rPr>
              <a:t>é scénáře: </a:t>
            </a:r>
            <a:r>
              <a:rPr lang="cs-CZ" dirty="0" err="1">
                <a:latin typeface="+mn-lt"/>
              </a:rPr>
              <a:t>7denní</a:t>
            </a:r>
            <a:r>
              <a:rPr lang="cs-CZ" dirty="0">
                <a:latin typeface="+mn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7" name="TextovéPole 26"/>
          <p:cNvSpPr txBox="1"/>
          <p:nvPr>
            <p:custDataLst>
              <p:tags r:id="rId2"/>
            </p:custDataLst>
          </p:nvPr>
        </p:nvSpPr>
        <p:spPr>
          <a:xfrm>
            <a:off x="5623280" y="1755364"/>
            <a:ext cx="59541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ři zhoršení vývoje epidemi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dpovídající celo-populační hodnotě R = 1,1 by růst počtu nových případů nebyl prudký a situace by poskytla časový prostor na reakci. Stávající vývoj nicméně pokračuje dle původních optimistických scénářů pro R = cca 0,75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10420350" y="3075122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286535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/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844745" y="21387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BD7252EE-5071-4E6F-8048-257003F8720A}"/>
              </a:ext>
            </a:extLst>
          </p:cNvPr>
          <p:cNvGraphicFramePr>
            <a:graphicFrameLocks noGrp="1"/>
          </p:cNvGraphicFramePr>
          <p:nvPr/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nakažených potenciálně zranitelných pacientů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e klesá a snižuje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ak zátěž nemocnic. Jde o efekt postupující vakcinace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83621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/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757E2A2A-AB0C-4E9F-9905-4436AE58AC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682119" y="2011966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pulace seniorů 7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CF385267-F3F2-491D-8DAC-C8A2B489EACF}"/>
              </a:ext>
            </a:extLst>
          </p:cNvPr>
          <p:cNvGraphicFramePr>
            <a:graphicFrameLocks noGrp="1"/>
          </p:cNvGraphicFramePr>
          <p:nvPr/>
        </p:nvGraphicFramePr>
        <p:xfrm>
          <a:off x="4604657" y="1318755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0F2B6EF9-D569-4BAE-B545-E34BCC4C24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Počet nově nakažených potenciálně zranitelných pacientů setrvale klesá a snižuje tak zátěž nemocnic. Jde o efekt postupující vakcinace. 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452709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4C5A20A0-A260-40EF-BD1E-C982250FE1F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26779AC8-5DFA-4636-8E54-5D5708628E6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.06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  <p:sp>
        <p:nvSpPr>
          <p:cNvPr id="13" name="Šipka doprava 7">
            <a:extLst>
              <a:ext uri="{FF2B5EF4-FFF2-40B4-BE49-F238E27FC236}">
                <a16:creationId xmlns:a16="http://schemas.microsoft.com/office/drawing/2014/main" id="{6CC37CD3-6854-4EF0-97C9-F81FF0310C8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08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84206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11">
            <a:extLst>
              <a:ext uri="{FF2B5EF4-FFF2-40B4-BE49-F238E27FC236}">
                <a16:creationId xmlns:a16="http://schemas.microsoft.com/office/drawing/2014/main" id="{BBD5237A-AC5F-4DC8-A25F-195F6352F6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1317798"/>
              </p:ext>
            </p:extLst>
          </p:nvPr>
        </p:nvGraphicFramePr>
        <p:xfrm>
          <a:off x="386622" y="1863980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F1E29AA3-5156-427F-B2C1-D2E12C92F6C2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188179" y="5383605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12AFE89-D298-4590-BA62-418EF54DFC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DFDDB18-B447-4EBF-9692-3FE08A7B92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EAB3C5E-988C-4976-BDE0-94F78D098E4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7FCD1B8-AF59-4256-8A7E-355DD95C89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le 1">
            <a:extLst>
              <a:ext uri="{FF2B5EF4-FFF2-40B4-BE49-F238E27FC236}">
                <a16:creationId xmlns:a16="http://schemas.microsoft.com/office/drawing/2014/main" id="{3A971252-6362-4123-A768-72D80CB7105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případů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4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77146" y="4912782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36991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716348"/>
              </p:ext>
            </p:ext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i 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</a:t>
            </a:r>
            <a:r>
              <a:rPr kumimoji="0" lang="cs-CZ" sz="2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200" b="1" i="0" u="sng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1275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C339E20A-C935-462E-82AF-6CCF7E0FD7FD}"/>
              </a:ext>
            </a:extLst>
          </p:cNvPr>
          <p:cNvGraphicFramePr/>
          <p:nvPr>
            <p:extLst/>
          </p:nvPr>
        </p:nvGraphicFramePr>
        <p:xfrm>
          <a:off x="557348" y="1855142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6" name="Skupina 25">
            <a:extLst>
              <a:ext uri="{FF2B5EF4-FFF2-40B4-BE49-F238E27FC236}">
                <a16:creationId xmlns:a16="http://schemas.microsoft.com/office/drawing/2014/main" id="{8C2D4D41-0A31-40B4-B634-F96D58FDA3D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231051" y="5618949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2793BC1F-7363-46DB-9726-9AE5F8C6FD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030909B-B37D-4EEB-8455-E69A0284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78E8D6-CE74-4CE0-BD80-95C939A90F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986F9815-15AC-470D-A846-DC4140958B9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F7DF2DE-CB74-47C8-A38A-905DE08F66C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le 42">
            <a:extLst>
              <a:ext uri="{FF2B5EF4-FFF2-40B4-BE49-F238E27FC236}">
                <a16:creationId xmlns:a16="http://schemas.microsoft.com/office/drawing/2014/main" id="{2AF619FF-AD01-4F39-97F4-64CFF121F62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4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23217" y="5062295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sp>
        <p:nvSpPr>
          <p:cNvPr id="18" name="TextovéPole 16"/>
          <p:cNvSpPr txBox="1"/>
          <p:nvPr/>
        </p:nvSpPr>
        <p:spPr>
          <a:xfrm>
            <a:off x="5972369" y="2941864"/>
            <a:ext cx="564657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modely jsou zpracovány</a:t>
            </a:r>
            <a:r>
              <a:rPr kumimoji="0" lang="cs-CZ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 více možných scénářů vývoje, včetně rizikového trendu růstu epidemie v populaci při R 1,1. I tento scénář ale ukazuje na stabilitu stávající situace danou očkováním – predikované nárůsty hospitalizací nejsou prudké. Nejrizikovějším faktorem, který by tyto predikce mohl narušit, by bylo šíření nové mutace viru – zejména forem rezistentních k vakcinaci. 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Šipka dolů 18"/>
          <p:cNvSpPr/>
          <p:nvPr/>
        </p:nvSpPr>
        <p:spPr>
          <a:xfrm>
            <a:off x="10410034" y="4397393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76900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Prováděné testy a jejich pozitivita</a:t>
            </a:r>
          </a:p>
        </p:txBody>
      </p:sp>
    </p:spTree>
    <p:extLst>
      <p:ext uri="{BB962C8B-B14F-4D97-AF65-F5344CB8AC3E}">
        <p14:creationId xmlns:p14="http://schemas.microsoft.com/office/powerpoint/2010/main" val="74709652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ulka 8">
            <a:extLst>
              <a:ext uri="{FF2B5EF4-FFF2-40B4-BE49-F238E27FC236}">
                <a16:creationId xmlns:a16="http://schemas.microsoft.com/office/drawing/2014/main" id="{7F7C1951-D37C-440D-9CB2-FD4E1160FE7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77178"/>
              </p:ext>
            </p:extLst>
          </p:nvPr>
        </p:nvGraphicFramePr>
        <p:xfrm>
          <a:off x="197157" y="1123117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 err="1"/>
              <a:t>čty</a:t>
            </a:r>
            <a:r>
              <a:rPr lang="cs-CZ" dirty="0"/>
              <a:t> </a:t>
            </a:r>
            <a:r>
              <a:rPr lang="cs-CZ" dirty="0" smtClean="0"/>
              <a:t>realizovaných PCR testů v čase </a:t>
            </a:r>
            <a:endParaRPr lang="cs-CZ" dirty="0"/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172865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595E001A-4FCA-4DDB-8C25-BFD9173BD47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16865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086280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056914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FC33A9A-498A-45CF-8A94-495429B60AF6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00485348"/>
              </p:ext>
            </p:extLst>
          </p:nvPr>
        </p:nvGraphicFramePr>
        <p:xfrm>
          <a:off x="237686" y="1922545"/>
          <a:ext cx="117378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6300">
                  <a:extLst>
                    <a:ext uri="{9D8B030D-6E8A-4147-A177-3AD203B41FA5}">
                      <a16:colId xmlns:a16="http://schemas.microsoft.com/office/drawing/2014/main" val="4102005894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565410807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2407712690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3161196635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3323522357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29723337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21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66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86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20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72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17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0546293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550252F-4855-4D99-9A2A-D70851826A2B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11509134"/>
              </p:ext>
            </p:extLst>
          </p:nvPr>
        </p:nvGraphicFramePr>
        <p:xfrm>
          <a:off x="1455988" y="2348801"/>
          <a:ext cx="9055098" cy="2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122">
                  <a:extLst>
                    <a:ext uri="{9D8B030D-6E8A-4147-A177-3AD203B41FA5}">
                      <a16:colId xmlns:a16="http://schemas.microsoft.com/office/drawing/2014/main" val="101229450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32906683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3323232986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82409269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1970948560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65798897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3774537817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371836886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581510226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0.4%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9.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.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.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942093"/>
                  </a:ext>
                </a:extLst>
              </a:tr>
            </a:tbl>
          </a:graphicData>
        </a:graphic>
      </p:graphicFrame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4017EDDB-B32A-4BE0-898A-6E922001600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13668291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" name="TextovéPole 2"/>
          <p:cNvSpPr txBox="1"/>
          <p:nvPr/>
        </p:nvSpPr>
        <p:spPr>
          <a:xfrm>
            <a:off x="197157" y="691976"/>
            <a:ext cx="1177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Počet PCR testů je v uplynulých týdnech přibližně stabilní, což umožňuje relevantní analýzu časových trendů. </a:t>
            </a:r>
            <a:endParaRPr lang="cs-CZ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758658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ulka 8">
            <a:extLst>
              <a:ext uri="{FF2B5EF4-FFF2-40B4-BE49-F238E27FC236}">
                <a16:creationId xmlns:a16="http://schemas.microsoft.com/office/drawing/2014/main" id="{7F7C1951-D37C-440D-9CB2-FD4E1160FE7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97157" y="1123117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 err="1"/>
              <a:t>čty</a:t>
            </a:r>
            <a:r>
              <a:rPr lang="cs-CZ" dirty="0"/>
              <a:t> </a:t>
            </a:r>
            <a:r>
              <a:rPr lang="cs-CZ" dirty="0" smtClean="0"/>
              <a:t>realizovaných </a:t>
            </a:r>
            <a:r>
              <a:rPr lang="en-US" dirty="0" smtClean="0"/>
              <a:t>AG</a:t>
            </a:r>
            <a:r>
              <a:rPr lang="cs-CZ" dirty="0" smtClean="0"/>
              <a:t> testů v čase</a:t>
            </a:r>
            <a:endParaRPr lang="cs-CZ" dirty="0"/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172865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595E001A-4FCA-4DDB-8C25-BFD9173BD47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16865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086280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056914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FC33A9A-498A-45CF-8A94-495429B60AF6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85748769"/>
              </p:ext>
            </p:extLst>
          </p:nvPr>
        </p:nvGraphicFramePr>
        <p:xfrm>
          <a:off x="237686" y="1922545"/>
          <a:ext cx="117378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6300">
                  <a:extLst>
                    <a:ext uri="{9D8B030D-6E8A-4147-A177-3AD203B41FA5}">
                      <a16:colId xmlns:a16="http://schemas.microsoft.com/office/drawing/2014/main" val="4102005894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565410807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2407712690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3161196635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3323522357"/>
                    </a:ext>
                  </a:extLst>
                </a:gridCol>
                <a:gridCol w="1956300">
                  <a:extLst>
                    <a:ext uri="{9D8B030D-6E8A-4147-A177-3AD203B41FA5}">
                      <a16:colId xmlns:a16="http://schemas.microsoft.com/office/drawing/2014/main" val="29723337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 030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216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 151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 215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 617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 553 test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0546293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550252F-4855-4D99-9A2A-D70851826A2B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27178863"/>
              </p:ext>
            </p:extLst>
          </p:nvPr>
        </p:nvGraphicFramePr>
        <p:xfrm>
          <a:off x="1455988" y="2348801"/>
          <a:ext cx="9055098" cy="29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122">
                  <a:extLst>
                    <a:ext uri="{9D8B030D-6E8A-4147-A177-3AD203B41FA5}">
                      <a16:colId xmlns:a16="http://schemas.microsoft.com/office/drawing/2014/main" val="101229450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32906683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3323232986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82409269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1970948560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657988972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3774537817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371836886"/>
                    </a:ext>
                  </a:extLst>
                </a:gridCol>
                <a:gridCol w="1006122">
                  <a:extLst>
                    <a:ext uri="{9D8B030D-6E8A-4147-A177-3AD203B41FA5}">
                      <a16:colId xmlns:a16="http://schemas.microsoft.com/office/drawing/2014/main" val="2581510226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2%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1.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2.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2.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942093"/>
                  </a:ext>
                </a:extLst>
              </a:tr>
            </a:tbl>
          </a:graphicData>
        </a:graphic>
      </p:graphicFrame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4017EDDB-B32A-4BE0-898A-6E922001600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00674406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3" name="TextovéPole 12"/>
          <p:cNvSpPr txBox="1"/>
          <p:nvPr/>
        </p:nvSpPr>
        <p:spPr>
          <a:xfrm>
            <a:off x="197157" y="691976"/>
            <a:ext cx="1177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Počet AG testů je v uplynulých dvou týdnech poklesl o 12% až 22%.</a:t>
            </a:r>
            <a:endParaRPr lang="cs-CZ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37920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5B5A9C21-287E-4F03-B78A-52A6DB3822A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06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2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35 (83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10 (23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25 (59,5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7 (16,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5 (11,9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(4,8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262B1698-1AD2-45F5-A0FD-0DB8D4E9C20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.2021–13.6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 416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1 192 (84,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515 (36,4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677 (47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224 (15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105 (7,4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19 (8,4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3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4947861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0712686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Table 13">
            <a:extLst>
              <a:ext uri="{FF2B5EF4-FFF2-40B4-BE49-F238E27FC236}">
                <a16:creationId xmlns:a16="http://schemas.microsoft.com/office/drawing/2014/main" id="{D2F10A43-B0DE-40C9-A0F0-B7EE1681CA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7272690"/>
              </p:ext>
            </p:extLst>
          </p:nvPr>
        </p:nvGraphicFramePr>
        <p:xfrm>
          <a:off x="1476470" y="558575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84192" y="2685694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252785633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9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5469118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Table 13">
            <a:extLst>
              <a:ext uri="{FF2B5EF4-FFF2-40B4-BE49-F238E27FC236}">
                <a16:creationId xmlns:a16="http://schemas.microsoft.com/office/drawing/2014/main" id="{F3939289-597A-47C9-AE2B-9A10FF2838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164028"/>
              </p:ext>
            </p:extLst>
          </p:nvPr>
        </p:nvGraphicFramePr>
        <p:xfrm>
          <a:off x="1563556" y="500519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71278" y="2627638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360345295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 smtClean="0"/>
              <a:t>Nové případy COVID-19 </a:t>
            </a:r>
            <a:r>
              <a:rPr lang="cs-CZ" sz="4000" b="1" dirty="0"/>
              <a:t>u </a:t>
            </a:r>
            <a:r>
              <a:rPr lang="cs-CZ" sz="4000" b="1" dirty="0" smtClean="0"/>
              <a:t>dětí</a:t>
            </a:r>
            <a:endParaRPr lang="cs-CZ" sz="4000" b="1" dirty="0"/>
          </a:p>
          <a:p>
            <a:r>
              <a:rPr lang="cs-CZ" sz="4000" b="1" dirty="0"/>
              <a:t>Souhrnné výsledky testů ze škol </a:t>
            </a:r>
            <a:endParaRPr lang="cs-CZ" sz="4000" b="1" i="1" dirty="0"/>
          </a:p>
        </p:txBody>
      </p:sp>
    </p:spTree>
    <p:extLst>
      <p:ext uri="{BB962C8B-B14F-4D97-AF65-F5344CB8AC3E}">
        <p14:creationId xmlns:p14="http://schemas.microsoft.com/office/powerpoint/2010/main" val="17978173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Kumulativní počet testů provedených přímo ve školách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200" y="648748"/>
            <a:ext cx="73116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2. 6. 2021 18:00 -&gt; celkový přehled bez dělení dle věkových skupin žáků</a:t>
            </a:r>
            <a:endParaRPr lang="cs-CZ" sz="1400" i="1" dirty="0"/>
          </a:p>
        </p:txBody>
      </p:sp>
      <p:graphicFrame>
        <p:nvGraphicFramePr>
          <p:cNvPr id="10" name="Graf 16">
            <a:extLst>
              <a:ext uri="{FF2B5EF4-FFF2-40B4-BE49-F238E27FC236}">
                <a16:creationId xmlns:a16="http://schemas.microsoft.com/office/drawing/2014/main" id="{3A451FDC-44C3-49C1-9378-D6D6BC55CE26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59687" y="1099751"/>
          <a:ext cx="11460862" cy="54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Obdélník 11">
            <a:extLst>
              <a:ext uri="{FF2B5EF4-FFF2-40B4-BE49-F238E27FC236}">
                <a16:creationId xmlns:a16="http://schemas.microsoft.com/office/drawing/2014/main" id="{4E11FDD2-C553-4CA5-95B2-1ADDA68989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018131" y="3390256"/>
            <a:ext cx="4586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K</a:t>
            </a: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umulativní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počet provedených testů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559DA486-5B4D-4CF3-B2A1-103CD2BC1928}"/>
              </a:ext>
            </a:extLst>
          </p:cNvPr>
          <p:cNvGrpSpPr/>
          <p:nvPr/>
        </p:nvGrpSpPr>
        <p:grpSpPr>
          <a:xfrm>
            <a:off x="1655097" y="1583258"/>
            <a:ext cx="2057077" cy="777412"/>
            <a:chOff x="1655097" y="1583258"/>
            <a:chExt cx="2057077" cy="777412"/>
          </a:xfrm>
        </p:grpSpPr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92C0E3F8-2447-4A01-AEF4-0B4F66FC9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475415" y="1583258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>
                  <a:solidFill>
                    <a:srgbClr val="000000"/>
                  </a:solidFill>
                </a:rPr>
                <a:t>Žáci</a:t>
              </a:r>
              <a:endParaRPr lang="cs-CZ" sz="1400" i="1" dirty="0"/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8E946716-5D4D-4616-9BBC-6ABF19E8568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75415" y="2052893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/>
                <a:t>Zaměstnanci</a:t>
              </a:r>
            </a:p>
          </p:txBody>
        </p: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802A874-F297-42E0-8C76-702FD285E353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655097" y="1746056"/>
              <a:ext cx="62055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816A37-A9CE-41EA-87A4-E63CEBE7D94E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>
            <a:xfrm>
              <a:off x="1655097" y="2206782"/>
              <a:ext cx="620559" cy="0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8923678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4775" y="117608"/>
            <a:ext cx="1195387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sty prováděné přímo ve školách jsou školami </a:t>
            </a:r>
            <a:r>
              <a:rPr kumimoji="0" lang="cs-CZ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gregovaně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hlášeny do centrálního systému, který umožňuje sledovat vývoj pozitivních záchytů nákazy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 průběžných dat vyplývá, že testy prováděné ve školách neindikují systémový rizikový vývoj či kontinuální eskalaci v šíření epidemie. Hodnoty v jednotlivých krajích různě v čase fluktuují, ale kontinuálně nerostou. 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55199" y="170977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5199" y="458993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6601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84002" y="1932528"/>
            <a:ext cx="11708186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Proočkovanost seniorních skupin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byvatel (70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+)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 společně 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s 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přirozenou ochranou danou nedávno prodělaným onemocněním 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přesahuje 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80 % daných populačních kohort. Tento fakt významně snižuje zátěž nemocnic, klesají  počty nově hospitalizovaných a potenciálně zranitelných pacientů. Kalkulováno na celé dospělé populaci ČR dosahuje tato ochrana téměř 60 %. Celkem 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50,9 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% osob ve věku 16+ je očkováno alespoň 1. dávkou, 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23,6 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% má očkování ukončené. </a:t>
            </a:r>
            <a:r>
              <a:rPr lang="cs-CZ" sz="3000" b="1" dirty="0">
                <a:solidFill>
                  <a:srgbClr val="0000FF"/>
                </a:solidFill>
              </a:rPr>
              <a:t>Celkem </a:t>
            </a:r>
            <a:r>
              <a:rPr lang="cs-CZ" sz="3000" b="1" dirty="0" smtClean="0">
                <a:solidFill>
                  <a:srgbClr val="0000FF"/>
                </a:solidFill>
              </a:rPr>
              <a:t>51,9 </a:t>
            </a:r>
            <a:r>
              <a:rPr lang="cs-CZ" sz="3000" b="1" dirty="0">
                <a:solidFill>
                  <a:srgbClr val="0000FF"/>
                </a:solidFill>
              </a:rPr>
              <a:t>% osob ve věku </a:t>
            </a:r>
            <a:r>
              <a:rPr lang="cs-CZ" sz="3000" b="1" dirty="0" smtClean="0">
                <a:solidFill>
                  <a:srgbClr val="0000FF"/>
                </a:solidFill>
              </a:rPr>
              <a:t>18+ </a:t>
            </a:r>
            <a:r>
              <a:rPr lang="cs-CZ" sz="3000" b="1" dirty="0">
                <a:solidFill>
                  <a:srgbClr val="0000FF"/>
                </a:solidFill>
              </a:rPr>
              <a:t>je očkováno alespoň 1. dávkou, </a:t>
            </a:r>
            <a:r>
              <a:rPr lang="cs-CZ" sz="3000" b="1" dirty="0" smtClean="0">
                <a:solidFill>
                  <a:srgbClr val="0000FF"/>
                </a:solidFill>
              </a:rPr>
              <a:t>24,1 </a:t>
            </a:r>
            <a:r>
              <a:rPr lang="cs-CZ" sz="3000" b="1" dirty="0">
                <a:solidFill>
                  <a:srgbClr val="0000FF"/>
                </a:solidFill>
              </a:rPr>
              <a:t>% má očkování ukončené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2241" y="153953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sz="4000" b="1" dirty="0">
                <a:solidFill>
                  <a:prstClr val="black"/>
                </a:solidFill>
                <a:latin typeface="Calibri" panose="020F0502020204030204"/>
              </a:rPr>
              <a:t>Na významném zpomalení šíření epidemie </a:t>
            </a:r>
            <a:endParaRPr lang="cs-CZ" sz="4000" b="1" dirty="0" smtClean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sz="4000" b="1" dirty="0" smtClean="0">
                <a:solidFill>
                  <a:prstClr val="black"/>
                </a:solidFill>
                <a:latin typeface="Calibri" panose="020F0502020204030204"/>
              </a:rPr>
              <a:t>se </a:t>
            </a:r>
            <a:r>
              <a:rPr lang="cs-CZ" sz="4000" b="1" dirty="0">
                <a:solidFill>
                  <a:prstClr val="black"/>
                </a:solidFill>
                <a:latin typeface="Calibri" panose="020F0502020204030204"/>
              </a:rPr>
              <a:t>podstatně podílí postupující vakcinace 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136335" y="628341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41093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solidFill>
                  <a:srgbClr val="000000"/>
                </a:solidFill>
                <a:latin typeface="Arial" panose="020B0604020202020204"/>
              </a:rPr>
              <a:t>(bez dělení na </a:t>
            </a:r>
            <a:r>
              <a:rPr lang="cs-CZ" sz="1600" i="1" dirty="0">
                <a:latin typeface="Arial" panose="020B0604020202020204"/>
              </a:rPr>
              <a:t>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8 167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2 988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ca </a:t>
            </a:r>
            <a:r>
              <a:rPr lang="cs-CZ" sz="2200" b="1" dirty="0">
                <a:latin typeface="Arial" panose="020B0604020202020204"/>
              </a:rPr>
              <a:t>37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* 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</a:t>
            </a: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53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556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2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</a:t>
            </a:r>
            <a:br>
              <a:rPr lang="cs-CZ" sz="2000" dirty="0">
                <a:solidFill>
                  <a:schemeClr val="bg1"/>
                </a:solidFill>
              </a:rPr>
            </a:br>
            <a:r>
              <a:rPr lang="cs-CZ" sz="2000" b="1" dirty="0">
                <a:solidFill>
                  <a:srgbClr val="FFFFFF"/>
                </a:solidFill>
                <a:latin typeface="Arial" panose="020B0604020202020204" pitchFamily="34" charset="0"/>
              </a:rPr>
              <a:t>11 079 </a:t>
            </a:r>
            <a:r>
              <a:rPr lang="cs-CZ" sz="2000" dirty="0">
                <a:solidFill>
                  <a:schemeClr val="bg1"/>
                </a:solidFill>
              </a:rPr>
              <a:t>nákaz u dětí </a:t>
            </a:r>
          </a:p>
          <a:p>
            <a:r>
              <a:rPr lang="cs-CZ" sz="2000" dirty="0">
                <a:solidFill>
                  <a:schemeClr val="bg1"/>
                </a:solidFill>
              </a:rPr>
              <a:t>(5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Testy provedené přímo ve školách potvrdily </a:t>
            </a:r>
          </a:p>
          <a:p>
            <a:r>
              <a:rPr lang="cs-CZ" sz="2200" b="1" dirty="0"/>
              <a:t>2 988 </a:t>
            </a:r>
            <a:r>
              <a:rPr lang="cs-CZ" sz="2200" dirty="0"/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Epidemická šetření všech záznamů v </a:t>
            </a:r>
            <a:r>
              <a:rPr lang="cs-CZ" sz="2200" b="1" dirty="0"/>
              <a:t>ISIN</a:t>
            </a:r>
            <a:r>
              <a:rPr lang="cs-CZ" sz="2200" dirty="0"/>
              <a:t> prokázala </a:t>
            </a:r>
          </a:p>
          <a:p>
            <a:r>
              <a:rPr lang="cs-CZ" sz="2200" b="1" dirty="0"/>
              <a:t>2 911 </a:t>
            </a:r>
            <a:r>
              <a:rPr lang="cs-CZ" sz="2200" dirty="0"/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Šipka doprava 21"/>
          <p:cNvSpPr/>
          <p:nvPr/>
        </p:nvSpPr>
        <p:spPr>
          <a:xfrm rot="5400000">
            <a:off x="1581204" y="394704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/>
        </p:nvSpPr>
        <p:spPr>
          <a:xfrm>
            <a:off x="3746873" y="268960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esty ve školách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esty ve školách </a:t>
            </a:r>
          </a:p>
        </p:txBody>
      </p:sp>
    </p:spTree>
    <p:extLst>
      <p:ext uri="{BB962C8B-B14F-4D97-AF65-F5344CB8AC3E}">
        <p14:creationId xmlns:p14="http://schemas.microsoft.com/office/powerpoint/2010/main" val="300900766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Populační záchyty nákazy u dětí různých věkových kategorií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latin typeface="Arial" panose="020B0604020202020204"/>
              </a:rPr>
              <a:t>(bez dělení na 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10" name="TextovéPole 9"/>
          <p:cNvSpPr txBox="1"/>
          <p:nvPr>
            <p:custDataLst>
              <p:tags r:id="rId3"/>
            </p:custDataLst>
          </p:nvPr>
        </p:nvSpPr>
        <p:spPr>
          <a:xfrm>
            <a:off x="224157" y="1009108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5 – 11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2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5"/>
            </p:custDataLst>
          </p:nvPr>
        </p:nvSpPr>
        <p:spPr>
          <a:xfrm>
            <a:off x="292231" y="1543834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6 881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5 – 11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7" name="TextovéPole 16"/>
          <p:cNvSpPr txBox="1"/>
          <p:nvPr>
            <p:custDataLst>
              <p:tags r:id="rId6"/>
            </p:custDataLst>
          </p:nvPr>
        </p:nvSpPr>
        <p:spPr>
          <a:xfrm>
            <a:off x="5289543" y="1402633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endParaRPr lang="cs-CZ" sz="2000" dirty="0" smtClean="0"/>
          </a:p>
          <a:p>
            <a:r>
              <a:rPr lang="cs-CZ" sz="2000" b="1" dirty="0" smtClean="0"/>
              <a:t>2 </a:t>
            </a:r>
            <a:r>
              <a:rPr lang="cs-CZ" sz="2000" b="1" dirty="0"/>
              <a:t>073 </a:t>
            </a:r>
            <a:r>
              <a:rPr lang="cs-CZ" sz="2000" dirty="0"/>
              <a:t>nákaz pravděpodobně souvisejících se školním kolektivem </a:t>
            </a:r>
            <a:br>
              <a:rPr lang="cs-CZ" sz="2000" dirty="0"/>
            </a:br>
            <a:r>
              <a:rPr lang="cs-CZ" sz="2000" b="1" dirty="0"/>
              <a:t>(30 % celku)</a:t>
            </a:r>
          </a:p>
        </p:txBody>
      </p:sp>
      <p:sp>
        <p:nvSpPr>
          <p:cNvPr id="23" name="Šipka doprava 22"/>
          <p:cNvSpPr/>
          <p:nvPr/>
        </p:nvSpPr>
        <p:spPr>
          <a:xfrm>
            <a:off x="4794623" y="171243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7" name="TextovéPole 26"/>
          <p:cNvSpPr txBox="1"/>
          <p:nvPr>
            <p:custDataLst>
              <p:tags r:id="rId7"/>
            </p:custDataLst>
          </p:nvPr>
        </p:nvSpPr>
        <p:spPr>
          <a:xfrm>
            <a:off x="224157" y="2725899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2 – 15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/>
          <p:cNvSpPr txBox="1"/>
          <p:nvPr>
            <p:custDataLst>
              <p:tags r:id="rId8"/>
            </p:custDataLst>
          </p:nvPr>
        </p:nvSpPr>
        <p:spPr>
          <a:xfrm>
            <a:off x="292231" y="3308250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pt-BR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  <a:r>
              <a:rPr lang="cs-CZ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 198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2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9" name="TextovéPole 28"/>
          <p:cNvSpPr txBox="1"/>
          <p:nvPr>
            <p:custDataLst>
              <p:tags r:id="rId9"/>
            </p:custDataLst>
          </p:nvPr>
        </p:nvSpPr>
        <p:spPr>
          <a:xfrm>
            <a:off x="5289543" y="3149720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838 </a:t>
            </a:r>
            <a:r>
              <a:rPr lang="cs-CZ" sz="2000" dirty="0"/>
              <a:t>nákaz pravděpodobně souvisejících se školním kolektivem </a:t>
            </a:r>
            <a:br>
              <a:rPr lang="cs-CZ" sz="2000" dirty="0"/>
            </a:br>
            <a:r>
              <a:rPr lang="cs-CZ" sz="2000" b="1" dirty="0"/>
              <a:t>(20 % celku)</a:t>
            </a:r>
          </a:p>
        </p:txBody>
      </p:sp>
      <p:sp>
        <p:nvSpPr>
          <p:cNvPr id="30" name="Šipka doprava 29"/>
          <p:cNvSpPr/>
          <p:nvPr/>
        </p:nvSpPr>
        <p:spPr>
          <a:xfrm>
            <a:off x="4794623" y="345951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TextovéPole 30"/>
          <p:cNvSpPr txBox="1"/>
          <p:nvPr>
            <p:custDataLst>
              <p:tags r:id="rId10"/>
            </p:custDataLst>
          </p:nvPr>
        </p:nvSpPr>
        <p:spPr>
          <a:xfrm>
            <a:off x="224157" y="4518452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6 – 19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/>
          <p:cNvSpPr txBox="1"/>
          <p:nvPr>
            <p:custDataLst>
              <p:tags r:id="rId11"/>
            </p:custDataLst>
          </p:nvPr>
        </p:nvSpPr>
        <p:spPr>
          <a:xfrm>
            <a:off x="292231" y="5081753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3 506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6 – 19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3" name="TextovéPole 32"/>
          <p:cNvSpPr txBox="1"/>
          <p:nvPr>
            <p:custDataLst>
              <p:tags r:id="rId12"/>
            </p:custDataLst>
          </p:nvPr>
        </p:nvSpPr>
        <p:spPr>
          <a:xfrm>
            <a:off x="5289543" y="4913698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121 </a:t>
            </a:r>
            <a:r>
              <a:rPr lang="cs-CZ" sz="2000" dirty="0"/>
              <a:t>nákaz pravděpodobně souvisejících se školním kolektivem </a:t>
            </a:r>
            <a:br>
              <a:rPr lang="cs-CZ" sz="2000" dirty="0"/>
            </a:br>
            <a:r>
              <a:rPr lang="cs-CZ" sz="2000" b="1" dirty="0"/>
              <a:t>(3 % celku)</a:t>
            </a:r>
          </a:p>
        </p:txBody>
      </p:sp>
      <p:sp>
        <p:nvSpPr>
          <p:cNvPr id="34" name="Šipka doprava 33"/>
          <p:cNvSpPr/>
          <p:nvPr/>
        </p:nvSpPr>
        <p:spPr>
          <a:xfrm>
            <a:off x="4794623" y="5204446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>
            <p:custDataLst>
              <p:tags r:id="rId13"/>
            </p:custDataLst>
          </p:nvPr>
        </p:nvSpPr>
        <p:spPr>
          <a:xfrm>
            <a:off x="9505950" y="2357659"/>
            <a:ext cx="2581275" cy="310854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Průběžně hodnocená data</a:t>
            </a:r>
          </a:p>
          <a:p>
            <a:r>
              <a:rPr lang="cs-CZ" sz="1400" dirty="0"/>
              <a:t>o nákazách žáků ukazují </a:t>
            </a:r>
          </a:p>
          <a:p>
            <a:r>
              <a:rPr lang="cs-CZ" sz="1400" dirty="0"/>
              <a:t>na logický gradient v podílu nákaz souvisejících se školou (výsledky epidemických šetření KHS). </a:t>
            </a:r>
          </a:p>
          <a:p>
            <a:r>
              <a:rPr lang="cs-CZ" sz="1400" dirty="0"/>
              <a:t>Věková kategorie, která je nejdéle ve škole (5 – 11 let) vykazuje 30 % z celkem zachycených nákaz (po 12.4.) jako souvisejících se školou, dále tento podíl klesá k 20 % (třída 12 – 15 let) a k 3 % (16 – 19 let). </a:t>
            </a:r>
          </a:p>
        </p:txBody>
      </p:sp>
    </p:spTree>
    <p:extLst>
      <p:ext uri="{BB962C8B-B14F-4D97-AF65-F5344CB8AC3E}">
        <p14:creationId xmlns:p14="http://schemas.microsoft.com/office/powerpoint/2010/main" val="346245336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367424" y="1468996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223467" y="1825001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949699" y="2137947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</a:t>
            </a:r>
            <a:r>
              <a:rPr kumimoji="0" lang="cs-CZ" sz="1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Š v rotačním režimu</a:t>
            </a: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937352" y="2975133"/>
            <a:ext cx="0" cy="907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932892" y="1559490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200" b="1" i="1" dirty="0">
                <a:solidFill>
                  <a:srgbClr val="000000"/>
                </a:solidFill>
              </a:rPr>
              <a:t>26. 4. MŠ otevřeny zcela, SŠ a VOŠ praktické vyučování v PLK, HKK, KVK </a:t>
            </a:r>
            <a:br>
              <a:rPr lang="cs-CZ" sz="1200" b="1" i="1" dirty="0">
                <a:solidFill>
                  <a:srgbClr val="000000"/>
                </a:solidFill>
              </a:rPr>
            </a:br>
            <a:r>
              <a:rPr lang="cs-CZ" sz="1200" b="1" i="1" dirty="0">
                <a:solidFill>
                  <a:srgbClr val="000000"/>
                </a:solidFill>
              </a:rPr>
              <a:t>od 3. 5. dále STC, LBK, PAK, PHA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 s rozšířením rotační výuky 2. st. ZŠ a od 10. 5. ve zbývajících krajích</a:t>
            </a:r>
            <a:endParaRPr lang="cs-CZ" sz="1200" b="1" i="1" dirty="0">
              <a:solidFill>
                <a:srgbClr val="000000"/>
              </a:solidFill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264614" y="2461112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580559" y="2461111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013628" y="2461111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005586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11.6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35196" y="1893272"/>
            <a:ext cx="1475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žáci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848827" y="1902635"/>
            <a:ext cx="23182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zaměstnanci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2. 6. 2021 18:00</a:t>
            </a:r>
            <a:endParaRPr lang="cs-CZ" sz="1400" i="1" dirty="0"/>
          </a:p>
        </p:txBody>
      </p:sp>
      <p:sp>
        <p:nvSpPr>
          <p:cNvPr id="2" name="Obdélník 1"/>
          <p:cNvSpPr/>
          <p:nvPr/>
        </p:nvSpPr>
        <p:spPr>
          <a:xfrm>
            <a:off x="1243240" y="1031009"/>
            <a:ext cx="107773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Celkové absolutní počty pozitivních záchy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34314" y="1639506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646254" y="1639506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9659569" y="5630645"/>
            <a:ext cx="265697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72611980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65CE34-BA7B-4D0A-BDD0-7754F6E059C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561431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739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95EB96D-4360-4A5F-BBA6-DD6970FBD8A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260883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75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59BA51D-7547-4F6A-AF8C-73B62C7974C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688015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 276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50F700-BD9B-4F07-9F57-5ACB46BC8E8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181445" y="2555522"/>
            <a:ext cx="8409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9 713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A38787E-9710-4D2A-A711-372AE644843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138962" y="5639306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4 472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A9C1513-F4A3-42A4-BC61-9C1BE01CB4D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615689" y="5648216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9 825</a:t>
            </a:r>
          </a:p>
        </p:txBody>
      </p:sp>
    </p:spTree>
    <p:extLst>
      <p:ext uri="{BB962C8B-B14F-4D97-AF65-F5344CB8AC3E}">
        <p14:creationId xmlns:p14="http://schemas.microsoft.com/office/powerpoint/2010/main" val="311492411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18408" y="3653968"/>
            <a:ext cx="8050306" cy="3325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2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0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4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48701E7-F1B4-4F9C-8212-C3B87420926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1C140140-1983-45CC-A10B-066345AEDC3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29748" y="833644"/>
            <a:ext cx="9664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.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402AE3F-0527-47EC-A054-0F2CB5E32C7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920617" y="1727136"/>
            <a:ext cx="3052308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et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ě nakažených dětí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ěku 0 – 4 let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sá ve sledovaném čase ve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šech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jích. </a:t>
            </a: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především kraj Vysočina.</a:t>
            </a: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429402531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5986" y="4014337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2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917AEC26-943C-4BAF-A0AF-9551675FCB6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F7C36DEF-778B-4375-AA60-A601C49BBA0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09D08931-F140-400B-AEF1-5ED5FBA4931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3BDA947B-5EF2-4284-B5B5-03EB0325FFD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54B0F530-38B8-4DA9-A11D-B8541C2A296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29748" y="833644"/>
            <a:ext cx="9664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C3199B8A-F6F3-4DFE-BF90-70294CC448A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549748" y="2073328"/>
            <a:ext cx="340276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et nově nakažených dětí ve věku 5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 klesá ve sledovaném čase ve všech krajích. </a:t>
            </a:r>
          </a:p>
          <a:p>
            <a:pPr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ují kraje Zlínský, Jihočeský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cs-CZ" sz="2000" b="1" dirty="0" smtClean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Olomoucký.</a:t>
            </a: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253784196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824" y="3346186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2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729748" y="833644"/>
            <a:ext cx="9664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.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8589806" y="1949794"/>
            <a:ext cx="3427591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et nově nakažených dětí ve věku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 klesá ve sledovaném čase ve všech krajích. </a:t>
            </a: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ují kraje Liberecký, Plzeňský a Jihočeský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6"/>
            </p:custData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42668786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13. 6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EE952BB-7354-4D89-8CC6-6BC3309A3CEC}"/>
              </a:ext>
            </a:extLst>
          </p:cNvPr>
          <p:cNvGraphicFramePr/>
          <p:nvPr>
            <p:extLst/>
          </p:nvPr>
        </p:nvGraphicFramePr>
        <p:xfrm>
          <a:off x="133350" y="701213"/>
          <a:ext cx="11837679" cy="5830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693969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896970" y="1873690"/>
          <a:ext cx="975360" cy="4392000"/>
        </p:xfrm>
        <a:graphic>
          <a:graphicData uri="http://schemas.openxmlformats.org/drawingml/2006/table">
            <a:tbl>
              <a:tblPr/>
              <a:tblGrid>
                <a:gridCol w="97536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</a:tblGrid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41383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 5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186940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 3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 4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 7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 0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 5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3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 3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901668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 9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6830054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5 4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4077139"/>
                  </a:ext>
                </a:extLst>
              </a:tr>
              <a:tr h="292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3 59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096052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898203" y="1428327"/>
            <a:ext cx="1029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yvatelst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1. 1. 2021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F091EAC1-A8DA-420C-8D5B-8905D005F1B6}"/>
              </a:ext>
            </a:extLst>
          </p:cNvPr>
          <p:cNvSpPr/>
          <p:nvPr/>
        </p:nvSpPr>
        <p:spPr>
          <a:xfrm>
            <a:off x="4429003" y="1077652"/>
            <a:ext cx="23916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4FD9147-E57A-4764-BE0D-03259447DD56}"/>
              </a:ext>
            </a:extLst>
          </p:cNvPr>
          <p:cNvSpPr/>
          <p:nvPr/>
        </p:nvSpPr>
        <p:spPr>
          <a:xfrm>
            <a:off x="1390528" y="6296031"/>
            <a:ext cx="9312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 osoby, které nebyly očkovány a ani nejsou přihlášeny k očkování a kdykoliv v minulosti prodělali onemocnění COVID-19 podle dat ISIN</a:t>
            </a:r>
          </a:p>
        </p:txBody>
      </p:sp>
    </p:spTree>
    <p:extLst>
      <p:ext uri="{BB962C8B-B14F-4D97-AF65-F5344CB8AC3E}">
        <p14:creationId xmlns:p14="http://schemas.microsoft.com/office/powerpoint/2010/main" val="1517624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13. 6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EE952BB-7354-4D89-8CC6-6BC3309A3CEC}"/>
              </a:ext>
            </a:extLst>
          </p:cNvPr>
          <p:cNvGraphicFramePr/>
          <p:nvPr>
            <p:extLst/>
          </p:nvPr>
        </p:nvGraphicFramePr>
        <p:xfrm>
          <a:off x="220972" y="596438"/>
          <a:ext cx="11750058" cy="5830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560619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897964" y="1571626"/>
          <a:ext cx="975360" cy="4759755"/>
        </p:xfrm>
        <a:graphic>
          <a:graphicData uri="http://schemas.openxmlformats.org/drawingml/2006/table">
            <a:tbl>
              <a:tblPr/>
              <a:tblGrid>
                <a:gridCol w="97536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</a:tblGrid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 8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 5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 8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 47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 0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7 99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 1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 3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096052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5 0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069691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 8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3041063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 00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574411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5 3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37837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2 8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7364134"/>
                  </a:ext>
                </a:extLst>
              </a:tr>
              <a:tr h="3173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 5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1223415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1C4DBC00-ABAA-47B0-8261-8DCC80EB334A}"/>
              </a:ext>
            </a:extLst>
          </p:cNvPr>
          <p:cNvSpPr/>
          <p:nvPr/>
        </p:nvSpPr>
        <p:spPr>
          <a:xfrm>
            <a:off x="10898203" y="1133052"/>
            <a:ext cx="1029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yvatelst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1. 1. 2021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8C1CA600-C1AF-4587-A467-7F42CC2A7FB0}"/>
              </a:ext>
            </a:extLst>
          </p:cNvPr>
          <p:cNvSpPr/>
          <p:nvPr/>
        </p:nvSpPr>
        <p:spPr>
          <a:xfrm>
            <a:off x="1457203" y="6305556"/>
            <a:ext cx="9312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 osoby, které nebyly očkovány a ani nejsou přihlášeny k očkování a kdykoliv v minulosti prodělali onemocnění COVID-19 podle dat ISIN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59AB014-4ED6-424C-B141-75CEC1E1B846}"/>
              </a:ext>
            </a:extLst>
          </p:cNvPr>
          <p:cNvSpPr/>
          <p:nvPr/>
        </p:nvSpPr>
        <p:spPr>
          <a:xfrm>
            <a:off x="4476628" y="868102"/>
            <a:ext cx="23916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51354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8D86C4E6-7F60-4315-8882-ACFD396EEA7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74924" y="1439068"/>
          <a:ext cx="9126390" cy="4964784"/>
        </p:xfrm>
        <a:graphic>
          <a:graphicData uri="http://schemas.openxmlformats.org/drawingml/2006/table">
            <a:tbl>
              <a:tblPr/>
              <a:tblGrid>
                <a:gridCol w="1521065">
                  <a:extLst>
                    <a:ext uri="{9D8B030D-6E8A-4147-A177-3AD203B41FA5}">
                      <a16:colId xmlns:a16="http://schemas.microsoft.com/office/drawing/2014/main" val="2639219588"/>
                    </a:ext>
                  </a:extLst>
                </a:gridCol>
                <a:gridCol w="1521065">
                  <a:extLst>
                    <a:ext uri="{9D8B030D-6E8A-4147-A177-3AD203B41FA5}">
                      <a16:colId xmlns:a16="http://schemas.microsoft.com/office/drawing/2014/main" val="387775317"/>
                    </a:ext>
                  </a:extLst>
                </a:gridCol>
                <a:gridCol w="1521065">
                  <a:extLst>
                    <a:ext uri="{9D8B030D-6E8A-4147-A177-3AD203B41FA5}">
                      <a16:colId xmlns:a16="http://schemas.microsoft.com/office/drawing/2014/main" val="1798654856"/>
                    </a:ext>
                  </a:extLst>
                </a:gridCol>
                <a:gridCol w="1521065">
                  <a:extLst>
                    <a:ext uri="{9D8B030D-6E8A-4147-A177-3AD203B41FA5}">
                      <a16:colId xmlns:a16="http://schemas.microsoft.com/office/drawing/2014/main" val="3745595587"/>
                    </a:ext>
                  </a:extLst>
                </a:gridCol>
                <a:gridCol w="1521065">
                  <a:extLst>
                    <a:ext uri="{9D8B030D-6E8A-4147-A177-3AD203B41FA5}">
                      <a16:colId xmlns:a16="http://schemas.microsoft.com/office/drawing/2014/main" val="116822573"/>
                    </a:ext>
                  </a:extLst>
                </a:gridCol>
                <a:gridCol w="1521065">
                  <a:extLst>
                    <a:ext uri="{9D8B030D-6E8A-4147-A177-3AD203B41FA5}">
                      <a16:colId xmlns:a16="http://schemas.microsoft.com/office/drawing/2014/main" val="2612574564"/>
                    </a:ext>
                  </a:extLst>
                </a:gridCol>
              </a:tblGrid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A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88042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D6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F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851315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9C1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D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70607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A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6032079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E9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E1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297818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E7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9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513620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F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988594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D3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298191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778700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A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091359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D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E4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976413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F9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E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E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361753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E2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F2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8038606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3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EB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791201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8384483"/>
                  </a:ext>
                </a:extLst>
              </a:tr>
              <a:tr h="310299"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A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E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6326041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6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1 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6 3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3 9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2 4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 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 7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3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6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8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 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 5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 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 9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0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2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4 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 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 3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 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2 0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 5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 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3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4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6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7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3 8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 8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7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1 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1 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 6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16+ aplikováno </a:t>
            </a:r>
            <a:r>
              <a:rPr kumimoji="0" lang="pl-PL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 543 437 dávek, z toho 2 091 689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dávky druhé/konečné.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427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4E0DFD4D-99B6-413E-9AB7-6D671466D1B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87626" y="1440974"/>
          <a:ext cx="9113688" cy="4962880"/>
        </p:xfrm>
        <a:graphic>
          <a:graphicData uri="http://schemas.openxmlformats.org/drawingml/2006/table">
            <a:tbl>
              <a:tblPr/>
              <a:tblGrid>
                <a:gridCol w="1518948">
                  <a:extLst>
                    <a:ext uri="{9D8B030D-6E8A-4147-A177-3AD203B41FA5}">
                      <a16:colId xmlns:a16="http://schemas.microsoft.com/office/drawing/2014/main" val="4079867149"/>
                    </a:ext>
                  </a:extLst>
                </a:gridCol>
                <a:gridCol w="1518948">
                  <a:extLst>
                    <a:ext uri="{9D8B030D-6E8A-4147-A177-3AD203B41FA5}">
                      <a16:colId xmlns:a16="http://schemas.microsoft.com/office/drawing/2014/main" val="535515659"/>
                    </a:ext>
                  </a:extLst>
                </a:gridCol>
                <a:gridCol w="1518948">
                  <a:extLst>
                    <a:ext uri="{9D8B030D-6E8A-4147-A177-3AD203B41FA5}">
                      <a16:colId xmlns:a16="http://schemas.microsoft.com/office/drawing/2014/main" val="233299274"/>
                    </a:ext>
                  </a:extLst>
                </a:gridCol>
                <a:gridCol w="1518948">
                  <a:extLst>
                    <a:ext uri="{9D8B030D-6E8A-4147-A177-3AD203B41FA5}">
                      <a16:colId xmlns:a16="http://schemas.microsoft.com/office/drawing/2014/main" val="840076083"/>
                    </a:ext>
                  </a:extLst>
                </a:gridCol>
                <a:gridCol w="1518948">
                  <a:extLst>
                    <a:ext uri="{9D8B030D-6E8A-4147-A177-3AD203B41FA5}">
                      <a16:colId xmlns:a16="http://schemas.microsoft.com/office/drawing/2014/main" val="3408283301"/>
                    </a:ext>
                  </a:extLst>
                </a:gridCol>
                <a:gridCol w="1518948">
                  <a:extLst>
                    <a:ext uri="{9D8B030D-6E8A-4147-A177-3AD203B41FA5}">
                      <a16:colId xmlns:a16="http://schemas.microsoft.com/office/drawing/2014/main" val="894926680"/>
                    </a:ext>
                  </a:extLst>
                </a:gridCol>
              </a:tblGrid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214554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D5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D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746979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9C1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205806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EB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887443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EB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9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E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179429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E6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8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387576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D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3040202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D4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0877956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EA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4731448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C9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399388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D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E4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5072274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F9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EB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2910978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E4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F1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689673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4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EA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1570150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167544"/>
                  </a:ext>
                </a:extLst>
              </a:tr>
              <a:tr h="310180"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B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E0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6800156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8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1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5 5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7 0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1 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 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2 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1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2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4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8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0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5 6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 0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 5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 9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 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 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 5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4 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 9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4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9 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1 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 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 3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 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3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 1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4 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1 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 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0 7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0 6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8 a více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 6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Celkem bylo u osob ve věku 18+ aplikováno </a:t>
            </a:r>
            <a:r>
              <a:rPr kumimoji="0" lang="pl-PL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 531 896 dávek, z toho 2 090 690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dávky druhé/konečné.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912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94</TotalTime>
  <Words>5209</Words>
  <Application>Microsoft Office PowerPoint</Application>
  <PresentationFormat>Širokoúhlá obrazovka</PresentationFormat>
  <Paragraphs>1115</Paragraphs>
  <Slides>57</Slides>
  <Notes>20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9</vt:i4>
      </vt:variant>
      <vt:variant>
        <vt:lpstr>Nadpisy snímků</vt:lpstr>
      </vt:variant>
      <vt:variant>
        <vt:i4>57</vt:i4>
      </vt:variant>
    </vt:vector>
  </HeadingPairs>
  <TitlesOfParts>
    <vt:vector size="71" baseType="lpstr">
      <vt:lpstr>Times New Roman</vt:lpstr>
      <vt:lpstr>Calibri Light</vt:lpstr>
      <vt:lpstr>Arial</vt:lpstr>
      <vt:lpstr>Calibri</vt:lpstr>
      <vt:lpstr>Arial (Základní text)</vt:lpstr>
      <vt:lpstr>1_Motiv Office</vt:lpstr>
      <vt:lpstr>3_Motiv Office</vt:lpstr>
      <vt:lpstr>7_Motiv Office</vt:lpstr>
      <vt:lpstr>12_Motiv Office</vt:lpstr>
      <vt:lpstr>5_Motiv Office</vt:lpstr>
      <vt:lpstr>Motiv Office</vt:lpstr>
      <vt:lpstr>6_Motiv Office</vt:lpstr>
      <vt:lpstr>9_Motiv Office</vt:lpstr>
      <vt:lpstr>2_Motiv Office</vt:lpstr>
      <vt:lpstr>Datová a informační základna  pro management pandemie COVID-19</vt:lpstr>
      <vt:lpstr>Prezentace aplikace PowerPoint</vt:lpstr>
      <vt:lpstr>Prezentace aplikace PowerPoint</vt:lpstr>
      <vt:lpstr>Počty COVID-19 pozitivních v ČR na 100 000 v populaci</vt:lpstr>
      <vt:lpstr>Prezentace aplikace PowerPoint</vt:lpstr>
      <vt:lpstr>Stav očkování obyvatel v ČR k 13. 6. 2021</vt:lpstr>
      <vt:lpstr>Stav očkování obyvatel v ČR k 13. 6. 2021</vt:lpstr>
      <vt:lpstr>Očkovaní 16 a více let – přehled podle regionů</vt:lpstr>
      <vt:lpstr>Očkovaní 18 a více let – přehled podle regionů</vt:lpstr>
      <vt:lpstr>Očkování podle věku – aplikované dávky v čase</vt:lpstr>
      <vt:lpstr>Datová a informační základna  pro management pandemie COVID-19</vt:lpstr>
      <vt:lpstr>Prezentace aplikace PowerPoint</vt:lpstr>
      <vt:lpstr>7 denní počet nových případů (na 100 000 obyv.) v okresech</vt:lpstr>
      <vt:lpstr>7 denní počet nových případů (na 100 000 obyv.) v ORP</vt:lpstr>
      <vt:lpstr>Zátěž regionů ve vzájemném srovnání krajů k 14.6.</vt:lpstr>
      <vt:lpstr>Vybrané ukazatele – srovnání regionů ve 14denním časovém okně</vt:lpstr>
      <vt:lpstr>Vybrané ukazatele – srovnání regionů v 7denním časovém okně</vt:lpstr>
      <vt:lpstr>R (zjednodušený výpočet) - 7 denní úseky: srovnání krajů k 13.6.</vt:lpstr>
      <vt:lpstr>Relativní pozitivita testů s diagnostickou/epidemiologickou indikací za 7 dní</vt:lpstr>
      <vt:lpstr>Nové symptomatické případy za 7 dní na 100 000 obyvatel</vt:lpstr>
      <vt:lpstr>Nové případy za 7 dní na 100 000 obyvatel: 20 okresů s nejvyššími hodnotami k 5.6.</vt:lpstr>
      <vt:lpstr>Nové případy za 7 dní na 100 000 obyvatel: 20 okresů s nejvyššími hodnotami k 12.6.</vt:lpstr>
      <vt:lpstr>20 okresů s nejvyššími hodnotami R k 12.6. a jejich celková populační zátěž </vt:lpstr>
      <vt:lpstr>Prezentace aplikace PowerPoint</vt:lpstr>
      <vt:lpstr>Přehled okresů s potenciálně rizikovými epidemickými hodnotami  (kalkulace s hranicí týdenního záchytu 25 případů / 100tis. obyv.)</vt:lpstr>
      <vt:lpstr>Přehled ORP s potenciálně rizikovými epidemickými hodnotami (kalkulace s hranicí týdenního záchytu 25 případů / 100tis. obyv.)</vt:lpstr>
      <vt:lpstr>Přehled ORP s potenciálně rizikovými epidemickými hodnotami (kalkulace s hranicí týdenního záchytu 25 případů / 100tis. obyv.)</vt:lpstr>
      <vt:lpstr>Prezentace aplikace PowerPoint</vt:lpstr>
      <vt:lpstr>Přehled okresů s potenciálně rizikovými epidemickými hodnotami II (kalkulace s hranicí týdenního záchytu 12,5 případů / 100tis. obyv.)</vt:lpstr>
      <vt:lpstr>Přehled ORP s potenciálně rizikovými epidemickými hodnotami II (kalkulace s hranicí týdenního záchytu 12,5 případů / 100tis. obyv.)</vt:lpstr>
      <vt:lpstr>Přehled ORP s potenciálně rizikovými epidemickými hodnotami II (kalkulace s hranicí týdenního záchytu 12,5 případů / 100tis. obyv.)</vt:lpstr>
      <vt:lpstr>Datová a informační základna  pro management pandemie COVID-19</vt:lpstr>
      <vt:lpstr>Prezentace aplikace PowerPoint</vt:lpstr>
      <vt:lpstr>Prezentace aplikace PowerPoint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očty realizovaných PCR testů v čase </vt:lpstr>
      <vt:lpstr>Počty realizovaných AG testů v čase</vt:lpstr>
      <vt:lpstr>Typologie pozitivních případů</vt:lpstr>
      <vt:lpstr>Podíl pozitivních testů: diagnostické a klinické indikace </vt:lpstr>
      <vt:lpstr>Podíl pozitivních testů: epidemiologické indikace</vt:lpstr>
      <vt:lpstr>Datová a informační základna  pro management pandemie COVID-19</vt:lpstr>
      <vt:lpstr>Kumulativní počet testů provedených přímo ve školách </vt:lpstr>
      <vt:lpstr>Prezentace aplikace PowerPoint</vt:lpstr>
      <vt:lpstr>Testy hlášení ze škol – průběžné výsledky</vt:lpstr>
      <vt:lpstr>Populační záchyty nákazy u dětí různých věkových kategorií</vt:lpstr>
      <vt:lpstr>Počty COVID-19 pozitivních v ČR na 100 000 v populaci</vt:lpstr>
      <vt:lpstr>Testy ve školách – průběžné výsledky (dle CFA) 12.4–11.6.2021 </vt:lpstr>
      <vt:lpstr>Počty nově COVID-19 pozitivních na 100 testů u dětí v čase</vt:lpstr>
      <vt:lpstr>Nové případy za 7 dní na 100 000 obyvatel: srovnání krajů k 12.6.: 0–4 let</vt:lpstr>
      <vt:lpstr>Nové případy za 7 dní na 100 000 obyvatel: srovnání krajů k 12.6.: 5–11 let</vt:lpstr>
      <vt:lpstr>Nové případy za 7 dní na 100 000 obyvatel: srovnání krajů k 12.6.: 12–19 l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925</cp:revision>
  <dcterms:created xsi:type="dcterms:W3CDTF">2020-11-11T17:36:28Z</dcterms:created>
  <dcterms:modified xsi:type="dcterms:W3CDTF">2021-06-14T06:49:17Z</dcterms:modified>
</cp:coreProperties>
</file>